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slideLayouts/slideLayout93.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Override PartName="/ppt/slideLayouts/slideLayout106.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2.xml" ContentType="application/vnd.openxmlformats-officedocument.presentationml.slide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Default Extension="png" ContentType="image/png"/>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slideLayouts/slideLayout94.xml" ContentType="application/vnd.openxmlformats-officedocument.presentationml.slideLayout+xml"/>
  <Override PartName="/ppt/slideLayouts/slideLayout10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slideLayouts/slideLayout70.xml" ContentType="application/vnd.openxmlformats-officedocument.presentationml.slideLayout+xml"/>
  <Override PartName="/ppt/slideLayouts/slideLayout10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1.xml" ContentType="application/vnd.openxmlformats-officedocument.presentationml.slideLayout+xml"/>
  <Override PartName="/ppt/slideLayouts/slideLayout11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Layouts/slideLayout99.xml" ContentType="application/vnd.openxmlformats-officedocument.presentationml.slideLayout+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108.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commentAuthors.xml" ContentType="application/vnd.openxmlformats-officedocument.presentationml.commentAuthors+xml"/>
  <Override PartName="/ppt/slideLayouts/slideLayout100.xml" ContentType="application/vnd.openxmlformats-officedocument.presentationml.slideLayout+xml"/>
  <Override PartName="/ppt/slideLayouts/slideLayout89.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Default Extension="jpeg" ContentType="image/jpeg"/>
  <Override PartName="/ppt/slideLayouts/slideLayout105.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92" r:id="rId1"/>
    <p:sldMasterId id="2147483876" r:id="rId2"/>
    <p:sldMasterId id="2147483974" r:id="rId3"/>
    <p:sldMasterId id="2147483981" r:id="rId4"/>
    <p:sldMasterId id="2147484001" r:id="rId5"/>
  </p:sldMasterIdLst>
  <p:notesMasterIdLst>
    <p:notesMasterId r:id="rId24"/>
  </p:notesMasterIdLst>
  <p:handoutMasterIdLst>
    <p:handoutMasterId r:id="rId25"/>
  </p:handoutMasterIdLst>
  <p:sldIdLst>
    <p:sldId id="855" r:id="rId6"/>
    <p:sldId id="856" r:id="rId7"/>
    <p:sldId id="798" r:id="rId8"/>
    <p:sldId id="962" r:id="rId9"/>
    <p:sldId id="963" r:id="rId10"/>
    <p:sldId id="964" r:id="rId11"/>
    <p:sldId id="960" r:id="rId12"/>
    <p:sldId id="965" r:id="rId13"/>
    <p:sldId id="961" r:id="rId14"/>
    <p:sldId id="955" r:id="rId15"/>
    <p:sldId id="958" r:id="rId16"/>
    <p:sldId id="957" r:id="rId17"/>
    <p:sldId id="956" r:id="rId18"/>
    <p:sldId id="952" r:id="rId19"/>
    <p:sldId id="959" r:id="rId20"/>
    <p:sldId id="966" r:id="rId21"/>
    <p:sldId id="967" r:id="rId22"/>
    <p:sldId id="853" r:id="rId23"/>
  </p:sldIdLst>
  <p:sldSz cx="8712200" cy="6372225"/>
  <p:notesSz cx="6797675" cy="9926638"/>
  <p:custDataLst>
    <p:tags r:id="rId26"/>
  </p:custDataLst>
  <p:defaultTextStyle>
    <a:defPPr>
      <a:defRPr lang="en-US"/>
    </a:defPPr>
    <a:lvl1pPr marL="0" algn="l" defTabSz="810386" rtl="0" eaLnBrk="1" latinLnBrk="0" hangingPunct="1">
      <a:defRPr sz="1596" kern="1200">
        <a:solidFill>
          <a:schemeClr val="tx1"/>
        </a:solidFill>
        <a:latin typeface="+mn-lt"/>
        <a:ea typeface="+mn-ea"/>
        <a:cs typeface="+mn-cs"/>
      </a:defRPr>
    </a:lvl1pPr>
    <a:lvl2pPr marL="405195" algn="l" defTabSz="810386" rtl="0" eaLnBrk="1" latinLnBrk="0" hangingPunct="1">
      <a:defRPr sz="1596" kern="1200">
        <a:solidFill>
          <a:schemeClr val="tx1"/>
        </a:solidFill>
        <a:latin typeface="+mn-lt"/>
        <a:ea typeface="+mn-ea"/>
        <a:cs typeface="+mn-cs"/>
      </a:defRPr>
    </a:lvl2pPr>
    <a:lvl3pPr marL="810386" algn="l" defTabSz="810386" rtl="0" eaLnBrk="1" latinLnBrk="0" hangingPunct="1">
      <a:defRPr sz="1596" kern="1200">
        <a:solidFill>
          <a:schemeClr val="tx1"/>
        </a:solidFill>
        <a:latin typeface="+mn-lt"/>
        <a:ea typeface="+mn-ea"/>
        <a:cs typeface="+mn-cs"/>
      </a:defRPr>
    </a:lvl3pPr>
    <a:lvl4pPr marL="1215580" algn="l" defTabSz="810386" rtl="0" eaLnBrk="1" latinLnBrk="0" hangingPunct="1">
      <a:defRPr sz="1596" kern="1200">
        <a:solidFill>
          <a:schemeClr val="tx1"/>
        </a:solidFill>
        <a:latin typeface="+mn-lt"/>
        <a:ea typeface="+mn-ea"/>
        <a:cs typeface="+mn-cs"/>
      </a:defRPr>
    </a:lvl4pPr>
    <a:lvl5pPr marL="1620774" algn="l" defTabSz="810386" rtl="0" eaLnBrk="1" latinLnBrk="0" hangingPunct="1">
      <a:defRPr sz="1596" kern="1200">
        <a:solidFill>
          <a:schemeClr val="tx1"/>
        </a:solidFill>
        <a:latin typeface="+mn-lt"/>
        <a:ea typeface="+mn-ea"/>
        <a:cs typeface="+mn-cs"/>
      </a:defRPr>
    </a:lvl5pPr>
    <a:lvl6pPr marL="2025969" algn="l" defTabSz="810386" rtl="0" eaLnBrk="1" latinLnBrk="0" hangingPunct="1">
      <a:defRPr sz="1596" kern="1200">
        <a:solidFill>
          <a:schemeClr val="tx1"/>
        </a:solidFill>
        <a:latin typeface="+mn-lt"/>
        <a:ea typeface="+mn-ea"/>
        <a:cs typeface="+mn-cs"/>
      </a:defRPr>
    </a:lvl6pPr>
    <a:lvl7pPr marL="2431159" algn="l" defTabSz="810386" rtl="0" eaLnBrk="1" latinLnBrk="0" hangingPunct="1">
      <a:defRPr sz="1596" kern="1200">
        <a:solidFill>
          <a:schemeClr val="tx1"/>
        </a:solidFill>
        <a:latin typeface="+mn-lt"/>
        <a:ea typeface="+mn-ea"/>
        <a:cs typeface="+mn-cs"/>
      </a:defRPr>
    </a:lvl7pPr>
    <a:lvl8pPr marL="2836354" algn="l" defTabSz="810386" rtl="0" eaLnBrk="1" latinLnBrk="0" hangingPunct="1">
      <a:defRPr sz="1596" kern="1200">
        <a:solidFill>
          <a:schemeClr val="tx1"/>
        </a:solidFill>
        <a:latin typeface="+mn-lt"/>
        <a:ea typeface="+mn-ea"/>
        <a:cs typeface="+mn-cs"/>
      </a:defRPr>
    </a:lvl8pPr>
    <a:lvl9pPr marL="3241547" algn="l" defTabSz="810386" rtl="0" eaLnBrk="1" latinLnBrk="0" hangingPunct="1">
      <a:defRPr sz="1596"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007">
          <p15:clr>
            <a:srgbClr val="A4A3A4"/>
          </p15:clr>
        </p15:guide>
        <p15:guide id="2" pos="274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as Mulaudzi" initials="LM" lastIdx="11" clrIdx="0">
    <p:extLst>
      <p:ext uri="{19B8F6BF-5375-455C-9EA6-DF929625EA0E}">
        <p15:presenceInfo xmlns:p15="http://schemas.microsoft.com/office/powerpoint/2012/main" xmlns="" userId="S-1-5-21-2859422807-62148945-943952389-4263" providerId="AD"/>
      </p:ext>
    </p:extLst>
  </p:cmAuthor>
  <p:cmAuthor id="2" name="Zizamele Mbambo" initials="ZM" lastIdx="3" clrIdx="1">
    <p:extLst>
      <p:ext uri="{19B8F6BF-5375-455C-9EA6-DF929625EA0E}">
        <p15:presenceInfo xmlns:p15="http://schemas.microsoft.com/office/powerpoint/2012/main" xmlns="" userId="S-1-5-21-2859422807-62148945-943952389-67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5327"/>
    <a:srgbClr val="02A14F"/>
    <a:srgbClr val="2AB270"/>
    <a:srgbClr val="696969"/>
    <a:srgbClr val="01A99A"/>
    <a:srgbClr val="6FCA9B"/>
    <a:srgbClr val="EDFFD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0000" autoAdjust="0"/>
    <p:restoredTop sz="84509" autoAdjust="0"/>
  </p:normalViewPr>
  <p:slideViewPr>
    <p:cSldViewPr snapToGrid="0">
      <p:cViewPr varScale="1">
        <p:scale>
          <a:sx n="71" d="100"/>
          <a:sy n="71" d="100"/>
        </p:scale>
        <p:origin x="-1302" y="-90"/>
      </p:cViewPr>
      <p:guideLst>
        <p:guide orient="horz" pos="2007"/>
        <p:guide pos="2744"/>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9864"/>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769" cy="498040"/>
          </a:xfrm>
          <a:prstGeom prst="rect">
            <a:avLst/>
          </a:prstGeom>
        </p:spPr>
        <p:txBody>
          <a:bodyPr vert="horz" lIns="63258" tIns="31629" rIns="63258" bIns="31629" rtlCol="0"/>
          <a:lstStyle>
            <a:lvl1pPr algn="l">
              <a:defRPr sz="800"/>
            </a:lvl1pPr>
          </a:lstStyle>
          <a:p>
            <a:endParaRPr lang="en-ZA" dirty="0"/>
          </a:p>
        </p:txBody>
      </p:sp>
      <p:sp>
        <p:nvSpPr>
          <p:cNvPr id="3" name="Date Placeholder 2"/>
          <p:cNvSpPr>
            <a:spLocks noGrp="1"/>
          </p:cNvSpPr>
          <p:nvPr>
            <p:ph type="dt" sz="quarter" idx="1"/>
          </p:nvPr>
        </p:nvSpPr>
        <p:spPr>
          <a:xfrm>
            <a:off x="3850814" y="0"/>
            <a:ext cx="2945768" cy="498040"/>
          </a:xfrm>
          <a:prstGeom prst="rect">
            <a:avLst/>
          </a:prstGeom>
        </p:spPr>
        <p:txBody>
          <a:bodyPr vert="horz" lIns="63258" tIns="31629" rIns="63258" bIns="31629" rtlCol="0"/>
          <a:lstStyle>
            <a:lvl1pPr algn="r">
              <a:defRPr sz="800"/>
            </a:lvl1pPr>
          </a:lstStyle>
          <a:p>
            <a:fld id="{645F191C-7310-4E3C-A6FA-146C5EC044E0}" type="datetimeFigureOut">
              <a:rPr lang="en-ZA" smtClean="0"/>
              <a:pPr/>
              <a:t>2020/11/19</a:t>
            </a:fld>
            <a:endParaRPr lang="en-ZA" dirty="0"/>
          </a:p>
        </p:txBody>
      </p:sp>
      <p:sp>
        <p:nvSpPr>
          <p:cNvPr id="4" name="Footer Placeholder 3"/>
          <p:cNvSpPr>
            <a:spLocks noGrp="1"/>
          </p:cNvSpPr>
          <p:nvPr>
            <p:ph type="ftr" sz="quarter" idx="2"/>
          </p:nvPr>
        </p:nvSpPr>
        <p:spPr>
          <a:xfrm>
            <a:off x="0" y="9428598"/>
            <a:ext cx="2945769" cy="498040"/>
          </a:xfrm>
          <a:prstGeom prst="rect">
            <a:avLst/>
          </a:prstGeom>
        </p:spPr>
        <p:txBody>
          <a:bodyPr vert="horz" lIns="63258" tIns="31629" rIns="63258" bIns="31629" rtlCol="0" anchor="b"/>
          <a:lstStyle>
            <a:lvl1pPr algn="l">
              <a:defRPr sz="800"/>
            </a:lvl1pPr>
          </a:lstStyle>
          <a:p>
            <a:endParaRPr lang="en-ZA" dirty="0"/>
          </a:p>
        </p:txBody>
      </p:sp>
      <p:sp>
        <p:nvSpPr>
          <p:cNvPr id="5" name="Slide Number Placeholder 4"/>
          <p:cNvSpPr>
            <a:spLocks noGrp="1"/>
          </p:cNvSpPr>
          <p:nvPr>
            <p:ph type="sldNum" sz="quarter" idx="3"/>
          </p:nvPr>
        </p:nvSpPr>
        <p:spPr>
          <a:xfrm>
            <a:off x="3850814" y="9428598"/>
            <a:ext cx="2945768" cy="498040"/>
          </a:xfrm>
          <a:prstGeom prst="rect">
            <a:avLst/>
          </a:prstGeom>
        </p:spPr>
        <p:txBody>
          <a:bodyPr vert="horz" lIns="63258" tIns="31629" rIns="63258" bIns="31629" rtlCol="0" anchor="b"/>
          <a:lstStyle>
            <a:lvl1pPr algn="r">
              <a:defRPr sz="800"/>
            </a:lvl1pPr>
          </a:lstStyle>
          <a:p>
            <a:fld id="{7878CE86-DA49-4529-8474-CD8937FC9236}" type="slidenum">
              <a:rPr lang="en-ZA" smtClean="0"/>
              <a:pPr/>
              <a:t>‹#›</a:t>
            </a:fld>
            <a:endParaRPr lang="en-ZA" dirty="0"/>
          </a:p>
        </p:txBody>
      </p:sp>
    </p:spTree>
    <p:extLst>
      <p:ext uri="{BB962C8B-B14F-4D97-AF65-F5344CB8AC3E}">
        <p14:creationId xmlns:p14="http://schemas.microsoft.com/office/powerpoint/2010/main" xmlns="" val="217176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105" tIns="45552" rIns="91105" bIns="45552"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105" tIns="45552" rIns="91105" bIns="45552" rtlCol="0"/>
          <a:lstStyle>
            <a:lvl1pPr algn="r">
              <a:defRPr sz="1200"/>
            </a:lvl1pPr>
          </a:lstStyle>
          <a:p>
            <a:fld id="{40E25C7C-3BD8-45A2-A9D5-906AF0BFF799}" type="datetimeFigureOut">
              <a:rPr lang="en-US" smtClean="0"/>
              <a:pPr/>
              <a:t>11/19/2020</a:t>
            </a:fld>
            <a:endParaRPr lang="en-US" dirty="0"/>
          </a:p>
        </p:txBody>
      </p:sp>
      <p:sp>
        <p:nvSpPr>
          <p:cNvPr id="4" name="Slide Image Placeholder 3"/>
          <p:cNvSpPr>
            <a:spLocks noGrp="1" noRot="1" noChangeAspect="1"/>
          </p:cNvSpPr>
          <p:nvPr>
            <p:ph type="sldImg" idx="2"/>
          </p:nvPr>
        </p:nvSpPr>
        <p:spPr>
          <a:xfrm>
            <a:off x="854075" y="744538"/>
            <a:ext cx="5089525" cy="3722687"/>
          </a:xfrm>
          <a:prstGeom prst="rect">
            <a:avLst/>
          </a:prstGeom>
          <a:noFill/>
          <a:ln w="12700">
            <a:solidFill>
              <a:prstClr val="black"/>
            </a:solidFill>
          </a:ln>
        </p:spPr>
        <p:txBody>
          <a:bodyPr vert="horz" lIns="91105" tIns="45552" rIns="91105" bIns="45552"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105" tIns="45552" rIns="91105" bIns="455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105" tIns="45552" rIns="91105" bIns="4555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105" tIns="45552" rIns="91105" bIns="45552" rtlCol="0" anchor="b"/>
          <a:lstStyle>
            <a:lvl1pPr algn="r">
              <a:defRPr sz="1200"/>
            </a:lvl1pPr>
          </a:lstStyle>
          <a:p>
            <a:fld id="{EB2B0DCA-3115-4930-9966-8F74BC3DB468}" type="slidenum">
              <a:rPr lang="en-US" smtClean="0"/>
              <a:pPr/>
              <a:t>‹#›</a:t>
            </a:fld>
            <a:endParaRPr lang="en-US" dirty="0"/>
          </a:p>
        </p:txBody>
      </p:sp>
    </p:spTree>
    <p:extLst>
      <p:ext uri="{BB962C8B-B14F-4D97-AF65-F5344CB8AC3E}">
        <p14:creationId xmlns:p14="http://schemas.microsoft.com/office/powerpoint/2010/main" xmlns="" val="2926577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dirty="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13973" indent="-197682">
              <a:defRPr>
                <a:solidFill>
                  <a:schemeClr val="tx1"/>
                </a:solidFill>
                <a:latin typeface="Calibri" panose="020F0502020204030204" pitchFamily="34" charset="0"/>
              </a:defRPr>
            </a:lvl2pPr>
            <a:lvl3pPr marL="790727" indent="-158145">
              <a:defRPr>
                <a:solidFill>
                  <a:schemeClr val="tx1"/>
                </a:solidFill>
                <a:latin typeface="Calibri" panose="020F0502020204030204" pitchFamily="34" charset="0"/>
              </a:defRPr>
            </a:lvl3pPr>
            <a:lvl4pPr marL="1107018" indent="-158145">
              <a:defRPr>
                <a:solidFill>
                  <a:schemeClr val="tx1"/>
                </a:solidFill>
                <a:latin typeface="Calibri" panose="020F0502020204030204" pitchFamily="34" charset="0"/>
              </a:defRPr>
            </a:lvl4pPr>
            <a:lvl5pPr marL="1423309" indent="-158145">
              <a:defRPr>
                <a:solidFill>
                  <a:schemeClr val="tx1"/>
                </a:solidFill>
                <a:latin typeface="Calibri" panose="020F0502020204030204" pitchFamily="34" charset="0"/>
              </a:defRPr>
            </a:lvl5pPr>
            <a:lvl6pPr marL="1739600" indent="-158145" eaLnBrk="0" fontAlgn="base" hangingPunct="0">
              <a:spcBef>
                <a:spcPct val="0"/>
              </a:spcBef>
              <a:spcAft>
                <a:spcPct val="0"/>
              </a:spcAft>
              <a:defRPr>
                <a:solidFill>
                  <a:schemeClr val="tx1"/>
                </a:solidFill>
                <a:latin typeface="Calibri" panose="020F0502020204030204" pitchFamily="34" charset="0"/>
              </a:defRPr>
            </a:lvl6pPr>
            <a:lvl7pPr marL="2055891" indent="-158145" eaLnBrk="0" fontAlgn="base" hangingPunct="0">
              <a:spcBef>
                <a:spcPct val="0"/>
              </a:spcBef>
              <a:spcAft>
                <a:spcPct val="0"/>
              </a:spcAft>
              <a:defRPr>
                <a:solidFill>
                  <a:schemeClr val="tx1"/>
                </a:solidFill>
                <a:latin typeface="Calibri" panose="020F0502020204030204" pitchFamily="34" charset="0"/>
              </a:defRPr>
            </a:lvl7pPr>
            <a:lvl8pPr marL="2372182" indent="-158145" eaLnBrk="0" fontAlgn="base" hangingPunct="0">
              <a:spcBef>
                <a:spcPct val="0"/>
              </a:spcBef>
              <a:spcAft>
                <a:spcPct val="0"/>
              </a:spcAft>
              <a:defRPr>
                <a:solidFill>
                  <a:schemeClr val="tx1"/>
                </a:solidFill>
                <a:latin typeface="Calibri" panose="020F0502020204030204" pitchFamily="34" charset="0"/>
              </a:defRPr>
            </a:lvl8pPr>
            <a:lvl9pPr marL="2688473" indent="-158145" eaLnBrk="0" fontAlgn="base" hangingPunct="0">
              <a:spcBef>
                <a:spcPct val="0"/>
              </a:spcBef>
              <a:spcAft>
                <a:spcPct val="0"/>
              </a:spcAft>
              <a:defRPr>
                <a:solidFill>
                  <a:schemeClr val="tx1"/>
                </a:solidFill>
                <a:latin typeface="Calibri" panose="020F0502020204030204" pitchFamily="34" charset="0"/>
              </a:defRPr>
            </a:lvl9pPr>
          </a:lstStyle>
          <a:p>
            <a:pPr defTabSz="632582" eaLnBrk="0" fontAlgn="base" hangingPunct="0">
              <a:spcBef>
                <a:spcPct val="0"/>
              </a:spcBef>
              <a:spcAft>
                <a:spcPct val="0"/>
              </a:spcAft>
              <a:defRPr/>
            </a:pPr>
            <a:fld id="{AE988B12-D7DD-4C7F-9A8A-CB1951C558B1}" type="slidenum">
              <a:rPr lang="en-ZA" altLang="en-US" sz="800">
                <a:solidFill>
                  <a:prstClr val="black"/>
                </a:solidFill>
              </a:rPr>
              <a:pPr defTabSz="632582" eaLnBrk="0" fontAlgn="base" hangingPunct="0">
                <a:spcBef>
                  <a:spcPct val="0"/>
                </a:spcBef>
                <a:spcAft>
                  <a:spcPct val="0"/>
                </a:spcAft>
                <a:defRPr/>
              </a:pPr>
              <a:t>1</a:t>
            </a:fld>
            <a:endParaRPr lang="en-ZA" altLang="en-US" sz="800" dirty="0">
              <a:solidFill>
                <a:prstClr val="black"/>
              </a:solidFill>
            </a:endParaRPr>
          </a:p>
        </p:txBody>
      </p:sp>
    </p:spTree>
    <p:extLst>
      <p:ext uri="{BB962C8B-B14F-4D97-AF65-F5344CB8AC3E}">
        <p14:creationId xmlns:p14="http://schemas.microsoft.com/office/powerpoint/2010/main" xmlns="" val="519642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EB2B0DCA-3115-4930-9966-8F74BC3DB468}" type="slidenum">
              <a:rPr lang="en-US" smtClean="0"/>
              <a:pPr/>
              <a:t>18</a:t>
            </a:fld>
            <a:endParaRPr lang="en-US" dirty="0"/>
          </a:p>
        </p:txBody>
      </p:sp>
    </p:spTree>
    <p:extLst>
      <p:ext uri="{BB962C8B-B14F-4D97-AF65-F5344CB8AC3E}">
        <p14:creationId xmlns:p14="http://schemas.microsoft.com/office/powerpoint/2010/main" xmlns="" val="1771030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89171" y="1043306"/>
            <a:ext cx="6533861" cy="2217742"/>
          </a:xfrm>
        </p:spPr>
        <p:txBody>
          <a:bodyPr anchor="b"/>
          <a:lstStyle>
            <a:lvl1pPr algn="ctr">
              <a:defRPr sz="4191"/>
            </a:lvl1pPr>
          </a:lstStyle>
          <a:p>
            <a:r>
              <a:rPr lang="en-US"/>
              <a:t>Click to edit Master title style</a:t>
            </a:r>
            <a:endParaRPr lang="en-ZA"/>
          </a:p>
        </p:txBody>
      </p:sp>
      <p:sp>
        <p:nvSpPr>
          <p:cNvPr id="3" name="Subtitle 2"/>
          <p:cNvSpPr>
            <a:spLocks noGrp="1"/>
          </p:cNvSpPr>
          <p:nvPr>
            <p:ph type="subTitle" idx="1"/>
          </p:nvPr>
        </p:nvSpPr>
        <p:spPr>
          <a:xfrm>
            <a:off x="1089171" y="3347510"/>
            <a:ext cx="6533861" cy="1537576"/>
          </a:xfrm>
        </p:spPr>
        <p:txBody>
          <a:bodyPr/>
          <a:lstStyle>
            <a:lvl1pPr marL="0" indent="0" algn="ctr">
              <a:buNone/>
              <a:defRPr sz="1677"/>
            </a:lvl1pPr>
            <a:lvl2pPr marL="319323" indent="0" algn="ctr">
              <a:buNone/>
              <a:defRPr sz="1397"/>
            </a:lvl2pPr>
            <a:lvl3pPr marL="638646" indent="0" algn="ctr">
              <a:buNone/>
              <a:defRPr sz="1257"/>
            </a:lvl3pPr>
            <a:lvl4pPr marL="957968" indent="0" algn="ctr">
              <a:buNone/>
              <a:defRPr sz="1117"/>
            </a:lvl4pPr>
            <a:lvl5pPr marL="1277292" indent="0" algn="ctr">
              <a:buNone/>
              <a:defRPr sz="1117"/>
            </a:lvl5pPr>
            <a:lvl6pPr marL="1596614" indent="0" algn="ctr">
              <a:buNone/>
              <a:defRPr sz="1117"/>
            </a:lvl6pPr>
            <a:lvl7pPr marL="1915938" indent="0" algn="ctr">
              <a:buNone/>
              <a:defRPr sz="1117"/>
            </a:lvl7pPr>
            <a:lvl8pPr marL="2235260" indent="0" algn="ctr">
              <a:buNone/>
              <a:defRPr sz="1117"/>
            </a:lvl8pPr>
            <a:lvl9pPr marL="2554583" indent="0" algn="ctr">
              <a:buNone/>
              <a:defRPr sz="1117"/>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076943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2202604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53415" y="1042862"/>
            <a:ext cx="7405370" cy="2218478"/>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153847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p:txBody>
          <a:bodyPr/>
          <a:lstStyle>
            <a:lvl1pPr defTabSz="849591">
              <a:defRPr/>
            </a:lvl1pPr>
          </a:lstStyle>
          <a:p>
            <a:pPr>
              <a:defRPr/>
            </a:pPr>
            <a:fld id="{4E5596ED-BD29-4F2F-85CF-01C5B25C09BE}" type="slidenum">
              <a:rPr lang="en-ZA"/>
              <a:pPr>
                <a:defRPr/>
              </a:pPr>
              <a:t>‹#›</a:t>
            </a:fld>
            <a:endParaRPr lang="en-ZA" dirty="0"/>
          </a:p>
        </p:txBody>
      </p:sp>
    </p:spTree>
    <p:extLst>
      <p:ext uri="{BB962C8B-B14F-4D97-AF65-F5344CB8AC3E}">
        <p14:creationId xmlns:p14="http://schemas.microsoft.com/office/powerpoint/2010/main" xmlns="" val="35704712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p:txBody>
          <a:bodyPr/>
          <a:lstStyle>
            <a:lvl1pPr defTabSz="849591">
              <a:defRPr/>
            </a:lvl1pPr>
          </a:lstStyle>
          <a:p>
            <a:pPr>
              <a:defRPr/>
            </a:pPr>
            <a:fld id="{2BA4C93F-B990-4B5D-94E0-F0FDDB5A48FF}" type="slidenum">
              <a:rPr lang="en-ZA"/>
              <a:pPr>
                <a:defRPr/>
              </a:pPr>
              <a:t>‹#›</a:t>
            </a:fld>
            <a:endParaRPr lang="en-ZA" dirty="0"/>
          </a:p>
        </p:txBody>
      </p:sp>
    </p:spTree>
    <p:extLst>
      <p:ext uri="{BB962C8B-B14F-4D97-AF65-F5344CB8AC3E}">
        <p14:creationId xmlns:p14="http://schemas.microsoft.com/office/powerpoint/2010/main" xmlns="" val="41772359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426" y="1588633"/>
            <a:ext cx="7514273" cy="2650668"/>
          </a:xfrm>
        </p:spPr>
        <p:txBody>
          <a:bodyPr anchor="b"/>
          <a:lstStyle>
            <a:lvl1pPr>
              <a:defRPr sz="5575"/>
            </a:lvl1pPr>
          </a:lstStyle>
          <a:p>
            <a:r>
              <a:rPr lang="en-US"/>
              <a:t>Click to edit Master title style</a:t>
            </a:r>
            <a:endParaRPr lang="en-US" dirty="0"/>
          </a:p>
        </p:txBody>
      </p:sp>
      <p:sp>
        <p:nvSpPr>
          <p:cNvPr id="3" name="Text Placeholder 2"/>
          <p:cNvSpPr>
            <a:spLocks noGrp="1"/>
          </p:cNvSpPr>
          <p:nvPr>
            <p:ph type="body" idx="1"/>
          </p:nvPr>
        </p:nvSpPr>
        <p:spPr>
          <a:xfrm>
            <a:off x="594426" y="4264378"/>
            <a:ext cx="7514273" cy="1393924"/>
          </a:xfrm>
        </p:spPr>
        <p:txBody>
          <a:bodyPr/>
          <a:lstStyle>
            <a:lvl1pPr marL="0" indent="0">
              <a:buNone/>
              <a:defRPr sz="2230">
                <a:solidFill>
                  <a:schemeClr val="tx1"/>
                </a:solidFill>
              </a:defRPr>
            </a:lvl1pPr>
            <a:lvl2pPr marL="424795" indent="0">
              <a:buNone/>
              <a:defRPr sz="1858">
                <a:solidFill>
                  <a:schemeClr val="tx1">
                    <a:tint val="75000"/>
                  </a:schemeClr>
                </a:solidFill>
              </a:defRPr>
            </a:lvl2pPr>
            <a:lvl3pPr marL="849591" indent="0">
              <a:buNone/>
              <a:defRPr sz="1672">
                <a:solidFill>
                  <a:schemeClr val="tx1">
                    <a:tint val="75000"/>
                  </a:schemeClr>
                </a:solidFill>
              </a:defRPr>
            </a:lvl3pPr>
            <a:lvl4pPr marL="1274386" indent="0">
              <a:buNone/>
              <a:defRPr sz="1487">
                <a:solidFill>
                  <a:schemeClr val="tx1">
                    <a:tint val="75000"/>
                  </a:schemeClr>
                </a:solidFill>
              </a:defRPr>
            </a:lvl4pPr>
            <a:lvl5pPr marL="1699180" indent="0">
              <a:buNone/>
              <a:defRPr sz="1487">
                <a:solidFill>
                  <a:schemeClr val="tx1">
                    <a:tint val="75000"/>
                  </a:schemeClr>
                </a:solidFill>
              </a:defRPr>
            </a:lvl5pPr>
            <a:lvl6pPr marL="2123976" indent="0">
              <a:buNone/>
              <a:defRPr sz="1487">
                <a:solidFill>
                  <a:schemeClr val="tx1">
                    <a:tint val="75000"/>
                  </a:schemeClr>
                </a:solidFill>
              </a:defRPr>
            </a:lvl6pPr>
            <a:lvl7pPr marL="2548771" indent="0">
              <a:buNone/>
              <a:defRPr sz="1487">
                <a:solidFill>
                  <a:schemeClr val="tx1">
                    <a:tint val="75000"/>
                  </a:schemeClr>
                </a:solidFill>
              </a:defRPr>
            </a:lvl7pPr>
            <a:lvl8pPr marL="2973566" indent="0">
              <a:buNone/>
              <a:defRPr sz="1487">
                <a:solidFill>
                  <a:schemeClr val="tx1">
                    <a:tint val="75000"/>
                  </a:schemeClr>
                </a:solidFill>
              </a:defRPr>
            </a:lvl8pPr>
            <a:lvl9pPr marL="3398361" indent="0">
              <a:buNone/>
              <a:defRPr sz="1487">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AC070069-CAE1-4758-9416-2820D65F1E64}" type="slidenum">
              <a:rPr lang="en-ZA"/>
              <a:pPr>
                <a:defRPr/>
              </a:pPr>
              <a:t>‹#›</a:t>
            </a:fld>
            <a:endParaRPr lang="en-ZA" dirty="0"/>
          </a:p>
        </p:txBody>
      </p:sp>
    </p:spTree>
    <p:extLst>
      <p:ext uri="{BB962C8B-B14F-4D97-AF65-F5344CB8AC3E}">
        <p14:creationId xmlns:p14="http://schemas.microsoft.com/office/powerpoint/2010/main" xmlns="" val="21404186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98964"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551"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201BCD8D-7558-4641-ABD1-CD384A0D126D}" type="slidenum">
              <a:rPr lang="en-ZA"/>
              <a:pPr>
                <a:defRPr/>
              </a:pPr>
              <a:t>‹#›</a:t>
            </a:fld>
            <a:endParaRPr lang="en-ZA" dirty="0"/>
          </a:p>
        </p:txBody>
      </p:sp>
    </p:spTree>
    <p:extLst>
      <p:ext uri="{BB962C8B-B14F-4D97-AF65-F5344CB8AC3E}">
        <p14:creationId xmlns:p14="http://schemas.microsoft.com/office/powerpoint/2010/main" xmlns="" val="171059903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0098" y="339264"/>
            <a:ext cx="7514273" cy="1231669"/>
          </a:xfrm>
        </p:spPr>
        <p:txBody>
          <a:bodyPr/>
          <a:lstStyle/>
          <a:p>
            <a:r>
              <a:rPr lang="en-US"/>
              <a:t>Click to edit Master title style</a:t>
            </a:r>
            <a:endParaRPr lang="en-US" dirty="0"/>
          </a:p>
        </p:txBody>
      </p:sp>
      <p:sp>
        <p:nvSpPr>
          <p:cNvPr id="3" name="Text Placeholder 2"/>
          <p:cNvSpPr>
            <a:spLocks noGrp="1"/>
          </p:cNvSpPr>
          <p:nvPr>
            <p:ph type="body" idx="1"/>
          </p:nvPr>
        </p:nvSpPr>
        <p:spPr>
          <a:xfrm>
            <a:off x="600100" y="1562080"/>
            <a:ext cx="3685668"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4" name="Content Placeholder 3"/>
          <p:cNvSpPr>
            <a:spLocks noGrp="1"/>
          </p:cNvSpPr>
          <p:nvPr>
            <p:ph sz="half" idx="2"/>
          </p:nvPr>
        </p:nvSpPr>
        <p:spPr>
          <a:xfrm>
            <a:off x="600100" y="2327632"/>
            <a:ext cx="3685668"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10552" y="1562080"/>
            <a:ext cx="3703820"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6" name="Content Placeholder 5"/>
          <p:cNvSpPr>
            <a:spLocks noGrp="1"/>
          </p:cNvSpPr>
          <p:nvPr>
            <p:ph sz="quarter" idx="4"/>
          </p:nvPr>
        </p:nvSpPr>
        <p:spPr>
          <a:xfrm>
            <a:off x="4410552" y="2327632"/>
            <a:ext cx="3703820"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defTabSz="849591">
              <a:defRPr/>
            </a:lvl1pPr>
          </a:lstStyle>
          <a:p>
            <a:pPr>
              <a:defRPr/>
            </a:pPr>
            <a:endParaRPr lang="en-ZA" dirty="0"/>
          </a:p>
        </p:txBody>
      </p:sp>
      <p:sp>
        <p:nvSpPr>
          <p:cNvPr id="8" name="Footer Placeholder 7"/>
          <p:cNvSpPr>
            <a:spLocks noGrp="1"/>
          </p:cNvSpPr>
          <p:nvPr>
            <p:ph type="ftr" sz="quarter" idx="11"/>
          </p:nvPr>
        </p:nvSpPr>
        <p:spPr/>
        <p:txBody>
          <a:bodyPr/>
          <a:lstStyle>
            <a:lvl1pPr defTabSz="849591">
              <a:defRPr/>
            </a:lvl1pPr>
          </a:lstStyle>
          <a:p>
            <a:pPr>
              <a:defRPr/>
            </a:pPr>
            <a:endParaRPr lang="en-ZA" dirty="0"/>
          </a:p>
        </p:txBody>
      </p:sp>
      <p:sp>
        <p:nvSpPr>
          <p:cNvPr id="9" name="Slide Number Placeholder 8"/>
          <p:cNvSpPr>
            <a:spLocks noGrp="1"/>
          </p:cNvSpPr>
          <p:nvPr>
            <p:ph type="sldNum" sz="quarter" idx="12"/>
          </p:nvPr>
        </p:nvSpPr>
        <p:spPr/>
        <p:txBody>
          <a:bodyPr/>
          <a:lstStyle>
            <a:lvl1pPr defTabSz="849591">
              <a:defRPr/>
            </a:lvl1pPr>
          </a:lstStyle>
          <a:p>
            <a:pPr>
              <a:defRPr/>
            </a:pPr>
            <a:fld id="{3251C2BA-2EFF-4FB0-B408-62A9D868314A}" type="slidenum">
              <a:rPr lang="en-ZA"/>
              <a:pPr>
                <a:defRPr/>
              </a:pPr>
              <a:t>‹#›</a:t>
            </a:fld>
            <a:endParaRPr lang="en-ZA" dirty="0"/>
          </a:p>
        </p:txBody>
      </p:sp>
    </p:spTree>
    <p:extLst>
      <p:ext uri="{BB962C8B-B14F-4D97-AF65-F5344CB8AC3E}">
        <p14:creationId xmlns:p14="http://schemas.microsoft.com/office/powerpoint/2010/main" xmlns="" val="31622209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defTabSz="849591">
              <a:defRPr/>
            </a:lvl1pPr>
          </a:lstStyle>
          <a:p>
            <a:pPr>
              <a:defRPr/>
            </a:pPr>
            <a:endParaRPr lang="en-ZA" dirty="0"/>
          </a:p>
        </p:txBody>
      </p:sp>
      <p:sp>
        <p:nvSpPr>
          <p:cNvPr id="4" name="Footer Placeholder 3"/>
          <p:cNvSpPr>
            <a:spLocks noGrp="1"/>
          </p:cNvSpPr>
          <p:nvPr>
            <p:ph type="ftr" sz="quarter" idx="11"/>
          </p:nvPr>
        </p:nvSpPr>
        <p:spPr/>
        <p:txBody>
          <a:bodyPr/>
          <a:lstStyle>
            <a:lvl1pPr defTabSz="849591">
              <a:defRPr/>
            </a:lvl1pPr>
          </a:lstStyle>
          <a:p>
            <a:pPr>
              <a:defRPr/>
            </a:pPr>
            <a:endParaRPr lang="en-ZA" dirty="0"/>
          </a:p>
        </p:txBody>
      </p:sp>
      <p:sp>
        <p:nvSpPr>
          <p:cNvPr id="5" name="Slide Number Placeholder 4"/>
          <p:cNvSpPr>
            <a:spLocks noGrp="1"/>
          </p:cNvSpPr>
          <p:nvPr>
            <p:ph type="sldNum" sz="quarter" idx="12"/>
          </p:nvPr>
        </p:nvSpPr>
        <p:spPr/>
        <p:txBody>
          <a:bodyPr/>
          <a:lstStyle>
            <a:lvl1pPr defTabSz="849591">
              <a:defRPr/>
            </a:lvl1pPr>
          </a:lstStyle>
          <a:p>
            <a:pPr>
              <a:defRPr/>
            </a:pPr>
            <a:fld id="{1C594C41-B282-4C74-87AF-AC845F389982}" type="slidenum">
              <a:rPr lang="en-ZA"/>
              <a:pPr>
                <a:defRPr/>
              </a:pPr>
              <a:t>‹#›</a:t>
            </a:fld>
            <a:endParaRPr lang="en-ZA" dirty="0"/>
          </a:p>
        </p:txBody>
      </p:sp>
    </p:spTree>
    <p:extLst>
      <p:ext uri="{BB962C8B-B14F-4D97-AF65-F5344CB8AC3E}">
        <p14:creationId xmlns:p14="http://schemas.microsoft.com/office/powerpoint/2010/main" xmlns="" val="41360558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849591">
              <a:defRPr/>
            </a:lvl1pPr>
          </a:lstStyle>
          <a:p>
            <a:pPr>
              <a:defRPr/>
            </a:pPr>
            <a:endParaRPr lang="en-ZA" dirty="0"/>
          </a:p>
        </p:txBody>
      </p:sp>
      <p:sp>
        <p:nvSpPr>
          <p:cNvPr id="3" name="Footer Placeholder 2"/>
          <p:cNvSpPr>
            <a:spLocks noGrp="1"/>
          </p:cNvSpPr>
          <p:nvPr>
            <p:ph type="ftr" sz="quarter" idx="11"/>
          </p:nvPr>
        </p:nvSpPr>
        <p:spPr/>
        <p:txBody>
          <a:bodyPr/>
          <a:lstStyle>
            <a:lvl1pPr defTabSz="849591">
              <a:defRPr/>
            </a:lvl1pPr>
          </a:lstStyle>
          <a:p>
            <a:pPr>
              <a:defRPr/>
            </a:pPr>
            <a:endParaRPr lang="en-ZA" dirty="0"/>
          </a:p>
        </p:txBody>
      </p:sp>
      <p:sp>
        <p:nvSpPr>
          <p:cNvPr id="4" name="Slide Number Placeholder 3"/>
          <p:cNvSpPr>
            <a:spLocks noGrp="1"/>
          </p:cNvSpPr>
          <p:nvPr>
            <p:ph type="sldNum" sz="quarter" idx="12"/>
          </p:nvPr>
        </p:nvSpPr>
        <p:spPr/>
        <p:txBody>
          <a:bodyPr/>
          <a:lstStyle>
            <a:lvl1pPr defTabSz="849591">
              <a:defRPr/>
            </a:lvl1pPr>
          </a:lstStyle>
          <a:p>
            <a:pPr>
              <a:defRPr/>
            </a:pPr>
            <a:fld id="{51DC58A3-AC9D-4379-AE0E-3D1C79168CA9}" type="slidenum">
              <a:rPr lang="en-ZA"/>
              <a:pPr>
                <a:defRPr/>
              </a:pPr>
              <a:t>‹#›</a:t>
            </a:fld>
            <a:endParaRPr lang="en-ZA" dirty="0"/>
          </a:p>
        </p:txBody>
      </p:sp>
    </p:spTree>
    <p:extLst>
      <p:ext uri="{BB962C8B-B14F-4D97-AF65-F5344CB8AC3E}">
        <p14:creationId xmlns:p14="http://schemas.microsoft.com/office/powerpoint/2010/main" xmlns="" val="22328177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Content Placeholder 2"/>
          <p:cNvSpPr>
            <a:spLocks noGrp="1"/>
          </p:cNvSpPr>
          <p:nvPr>
            <p:ph idx="1"/>
          </p:nvPr>
        </p:nvSpPr>
        <p:spPr>
          <a:xfrm>
            <a:off x="3703820" y="917484"/>
            <a:ext cx="4410551" cy="4528410"/>
          </a:xfrm>
        </p:spPr>
        <p:txBody>
          <a:bodyPr/>
          <a:lstStyle>
            <a:lvl1pPr>
              <a:defRPr sz="2973"/>
            </a:lvl1pPr>
            <a:lvl2pPr>
              <a:defRPr sz="2601"/>
            </a:lvl2pPr>
            <a:lvl3pPr>
              <a:defRPr sz="2230"/>
            </a:lvl3pPr>
            <a:lvl4pPr>
              <a:defRPr sz="1858"/>
            </a:lvl4pPr>
            <a:lvl5pPr>
              <a:defRPr sz="1858"/>
            </a:lvl5pPr>
            <a:lvl6pPr>
              <a:defRPr sz="1858"/>
            </a:lvl6pPr>
            <a:lvl7pPr>
              <a:defRPr sz="1858"/>
            </a:lvl7pPr>
            <a:lvl8pPr>
              <a:defRPr sz="1858"/>
            </a:lvl8pPr>
            <a:lvl9pPr>
              <a:defRPr sz="185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771C8401-ED09-4097-A7D1-C3113C961AAB}" type="slidenum">
              <a:rPr lang="en-ZA"/>
              <a:pPr>
                <a:defRPr/>
              </a:pPr>
              <a:t>‹#›</a:t>
            </a:fld>
            <a:endParaRPr lang="en-ZA" dirty="0"/>
          </a:p>
        </p:txBody>
      </p:sp>
    </p:spTree>
    <p:extLst>
      <p:ext uri="{BB962C8B-B14F-4D97-AF65-F5344CB8AC3E}">
        <p14:creationId xmlns:p14="http://schemas.microsoft.com/office/powerpoint/2010/main" xmlns="" val="7168934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Picture Placeholder 2"/>
          <p:cNvSpPr>
            <a:spLocks noGrp="1" noChangeAspect="1"/>
          </p:cNvSpPr>
          <p:nvPr>
            <p:ph type="pic" idx="1"/>
          </p:nvPr>
        </p:nvSpPr>
        <p:spPr>
          <a:xfrm>
            <a:off x="3703820" y="917484"/>
            <a:ext cx="4410551" cy="4528410"/>
          </a:xfrm>
        </p:spPr>
        <p:txBody>
          <a:bodyPr rtlCol="0">
            <a:normAutofit/>
          </a:bodyPr>
          <a:lstStyle>
            <a:lvl1pPr marL="0" indent="0">
              <a:buNone/>
              <a:defRPr sz="2973"/>
            </a:lvl1pPr>
            <a:lvl2pPr marL="424795" indent="0">
              <a:buNone/>
              <a:defRPr sz="2601"/>
            </a:lvl2pPr>
            <a:lvl3pPr marL="849591" indent="0">
              <a:buNone/>
              <a:defRPr sz="2230"/>
            </a:lvl3pPr>
            <a:lvl4pPr marL="1274386" indent="0">
              <a:buNone/>
              <a:defRPr sz="1858"/>
            </a:lvl4pPr>
            <a:lvl5pPr marL="1699180" indent="0">
              <a:buNone/>
              <a:defRPr sz="1858"/>
            </a:lvl5pPr>
            <a:lvl6pPr marL="2123976" indent="0">
              <a:buNone/>
              <a:defRPr sz="1858"/>
            </a:lvl6pPr>
            <a:lvl7pPr marL="2548771" indent="0">
              <a:buNone/>
              <a:defRPr sz="1858"/>
            </a:lvl7pPr>
            <a:lvl8pPr marL="2973566" indent="0">
              <a:buNone/>
              <a:defRPr sz="1858"/>
            </a:lvl8pPr>
            <a:lvl9pPr marL="3398361" indent="0">
              <a:buNone/>
              <a:defRPr sz="1858"/>
            </a:lvl9pPr>
          </a:lstStyle>
          <a:p>
            <a:pPr lvl="0"/>
            <a:r>
              <a:rPr lang="en-US" noProof="0" dirty="0"/>
              <a:t>Click icon to add picture</a:t>
            </a:r>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D791BDF2-DE64-4EB4-A0EF-C6A92C8EA9E3}" type="slidenum">
              <a:rPr lang="en-ZA"/>
              <a:pPr>
                <a:defRPr/>
              </a:pPr>
              <a:t>‹#›</a:t>
            </a:fld>
            <a:endParaRPr lang="en-ZA" dirty="0"/>
          </a:p>
        </p:txBody>
      </p:sp>
    </p:spTree>
    <p:extLst>
      <p:ext uri="{BB962C8B-B14F-4D97-AF65-F5344CB8AC3E}">
        <p14:creationId xmlns:p14="http://schemas.microsoft.com/office/powerpoint/2010/main" xmlns="" val="23964911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98487C50-19C1-45B5-9DF2-D440246E3A91}" type="slidenum">
              <a:rPr lang="en-ZA"/>
              <a:pPr>
                <a:defRPr/>
              </a:pPr>
              <a:t>‹#›</a:t>
            </a:fld>
            <a:endParaRPr lang="en-ZA" dirty="0"/>
          </a:p>
        </p:txBody>
      </p:sp>
    </p:spTree>
    <p:extLst>
      <p:ext uri="{BB962C8B-B14F-4D97-AF65-F5344CB8AC3E}">
        <p14:creationId xmlns:p14="http://schemas.microsoft.com/office/powerpoint/2010/main" xmlns="" val="1986468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5031" y="338644"/>
            <a:ext cx="1878356" cy="5400972"/>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98814" y="338644"/>
            <a:ext cx="5525457" cy="540097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616687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4669" y="339262"/>
            <a:ext cx="1878568" cy="540016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98964" y="339262"/>
            <a:ext cx="5526802" cy="540016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AF47C0B7-464E-46DE-8405-84ADC423D708}" type="slidenum">
              <a:rPr lang="en-ZA"/>
              <a:pPr>
                <a:defRPr/>
              </a:pPr>
              <a:t>‹#›</a:t>
            </a:fld>
            <a:endParaRPr lang="en-ZA" dirty="0"/>
          </a:p>
        </p:txBody>
      </p:sp>
    </p:spTree>
    <p:extLst>
      <p:ext uri="{BB962C8B-B14F-4D97-AF65-F5344CB8AC3E}">
        <p14:creationId xmlns:p14="http://schemas.microsoft.com/office/powerpoint/2010/main" xmlns="" val="18602943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isyDeck Master - 1">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4356100" cy="6372225"/>
          </a:xfr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45061" lvl="0" indent="-245061">
              <a:spcBef>
                <a:spcPts val="0"/>
              </a:spcBef>
            </a:pPr>
            <a:endParaRPr lang="en-GB" dirty="0"/>
          </a:p>
        </p:txBody>
      </p:sp>
      <p:pic>
        <p:nvPicPr>
          <p:cNvPr id="7" name="Picture 6"/>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275027" y="3081074"/>
            <a:ext cx="6372225" cy="210078"/>
          </a:xfrm>
          <a:prstGeom prst="rect">
            <a:avLst/>
          </a:prstGeom>
        </p:spPr>
      </p:pic>
      <p:grpSp>
        <p:nvGrpSpPr>
          <p:cNvPr id="6" name="Group 5">
            <a:extLst>
              <a:ext uri="{FF2B5EF4-FFF2-40B4-BE49-F238E27FC236}">
                <a16:creationId xmlns:a16="http://schemas.microsoft.com/office/drawing/2014/main" xmlns="" id="{961203A2-E9F1-4CCA-A99B-0FFB3B6C1795}"/>
              </a:ext>
            </a:extLst>
          </p:cNvPr>
          <p:cNvGrpSpPr>
            <a:grpSpLocks noChangeAspect="1"/>
          </p:cNvGrpSpPr>
          <p:nvPr userDrawn="1"/>
        </p:nvGrpSpPr>
        <p:grpSpPr>
          <a:xfrm rot="8100000" flipH="1" flipV="1">
            <a:off x="4350802" y="67002"/>
            <a:ext cx="168448" cy="71240"/>
            <a:chOff x="11661248" y="7789719"/>
            <a:chExt cx="1293156" cy="420621"/>
          </a:xfrm>
        </p:grpSpPr>
        <p:cxnSp>
          <p:nvCxnSpPr>
            <p:cNvPr id="9" name="Straight Connector 8">
              <a:extLst>
                <a:ext uri="{FF2B5EF4-FFF2-40B4-BE49-F238E27FC236}">
                  <a16:creationId xmlns:a16="http://schemas.microsoft.com/office/drawing/2014/main" xmlns="" id="{0B495974-C02F-4D34-B077-29878CF6A8A7}"/>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F0855A41-208C-42C1-AD15-B21FF4B9E1B6}"/>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827EB003-D20C-4011-BAC3-DE4485C4F025}"/>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3879380253"/>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isyDeck Master - 2">
    <p:bg>
      <p:bgPr>
        <a:solidFill>
          <a:schemeClr val="bg1"/>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xmlns="" id="{832D4945-9D7D-4DE1-9B43-D83941C3DD26}"/>
              </a:ext>
            </a:extLst>
          </p:cNvPr>
          <p:cNvSpPr/>
          <p:nvPr/>
        </p:nvSpPr>
        <p:spPr>
          <a:xfrm>
            <a:off x="1"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xmlns="" id="{DCFD0088-6908-4E38-9BC5-F529A3430F30}"/>
              </a:ext>
            </a:extLst>
          </p:cNvPr>
          <p:cNvSpPr/>
          <p:nvPr/>
        </p:nvSpPr>
        <p:spPr>
          <a:xfrm rot="10800000">
            <a:off x="3811906"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5" name="Picture Placeholder 7"/>
          <p:cNvSpPr>
            <a:spLocks noGrp="1"/>
          </p:cNvSpPr>
          <p:nvPr>
            <p:ph type="pic" sz="quarter" idx="13"/>
          </p:nvPr>
        </p:nvSpPr>
        <p:spPr>
          <a:xfrm>
            <a:off x="214872" y="279382"/>
            <a:ext cx="8282457" cy="5813462"/>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dirty="0"/>
            </a:lvl1pPr>
          </a:lstStyle>
          <a:p>
            <a:pPr marL="245061" lvl="0" indent="-245061">
              <a:spcBef>
                <a:spcPts val="0"/>
              </a:spcBef>
            </a:pPr>
            <a:endParaRPr lang="en-GB" dirty="0"/>
          </a:p>
        </p:txBody>
      </p:sp>
    </p:spTree>
    <p:extLst>
      <p:ext uri="{BB962C8B-B14F-4D97-AF65-F5344CB8AC3E}">
        <p14:creationId xmlns:p14="http://schemas.microsoft.com/office/powerpoint/2010/main" xmlns="" val="200826101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isyDeck Master - 3">
    <p:bg>
      <p:bgPr>
        <a:solidFill>
          <a:schemeClr val="bg1"/>
        </a:solidFill>
        <a:effectLst/>
      </p:bgPr>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xmlns="" id="{33DC9AD7-9F48-406A-993A-1BED63E32563}"/>
              </a:ext>
            </a:extLst>
          </p:cNvPr>
          <p:cNvSpPr/>
          <p:nvPr userDrawn="1"/>
        </p:nvSpPr>
        <p:spPr>
          <a:xfrm rot="10800000">
            <a:off x="6139868" y="0"/>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7" name="Right Triangle 6">
            <a:extLst>
              <a:ext uri="{FF2B5EF4-FFF2-40B4-BE49-F238E27FC236}">
                <a16:creationId xmlns:a16="http://schemas.microsoft.com/office/drawing/2014/main" xmlns="" id="{832D4945-9D7D-4DE1-9B43-D83941C3DD26}"/>
              </a:ext>
            </a:extLst>
          </p:cNvPr>
          <p:cNvSpPr/>
          <p:nvPr/>
        </p:nvSpPr>
        <p:spPr>
          <a:xfrm>
            <a:off x="1" y="3027612"/>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Picture Placeholder 15">
            <a:extLst>
              <a:ext uri="{FF2B5EF4-FFF2-40B4-BE49-F238E27FC236}">
                <a16:creationId xmlns:a16="http://schemas.microsoft.com/office/drawing/2014/main" xmlns="" id="{2AEF7218-04F4-4BE9-8B5E-231CB020EB22}"/>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22582272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isyDeck Master - 4">
    <p:bg>
      <p:bgPr>
        <a:solidFill>
          <a:schemeClr val="bg1"/>
        </a:solidFill>
        <a:effectLst/>
      </p:bgPr>
    </p:bg>
    <p:spTree>
      <p:nvGrpSpPr>
        <p:cNvPr id="1" name=""/>
        <p:cNvGrpSpPr/>
        <p:nvPr/>
      </p:nvGrpSpPr>
      <p:grpSpPr>
        <a:xfrm>
          <a:off x="0" y="0"/>
          <a:ext cx="0" cy="0"/>
          <a:chOff x="0" y="0"/>
          <a:chExt cx="0" cy="0"/>
        </a:xfrm>
      </p:grpSpPr>
      <p:sp>
        <p:nvSpPr>
          <p:cNvPr id="16" name="Right Triangle 15">
            <a:extLst>
              <a:ext uri="{FF2B5EF4-FFF2-40B4-BE49-F238E27FC236}">
                <a16:creationId xmlns:a16="http://schemas.microsoft.com/office/drawing/2014/main" xmlns="" id="{C6F537C0-0ACC-4E3C-B344-74CABD5C7EDF}"/>
              </a:ext>
            </a:extLst>
          </p:cNvPr>
          <p:cNvSpPr/>
          <p:nvPr userDrawn="1"/>
        </p:nvSpPr>
        <p:spPr>
          <a:xfrm rot="5400000">
            <a:off x="-289605" y="289606"/>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xmlns="" id="{203ED712-4928-494F-B1C4-D01346F6B469}"/>
              </a:ext>
            </a:extLst>
          </p:cNvPr>
          <p:cNvSpPr/>
          <p:nvPr userDrawn="1"/>
        </p:nvSpPr>
        <p:spPr>
          <a:xfrm rot="10800000">
            <a:off x="6782950" y="0"/>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8" name="Right Triangle 17">
            <a:extLst>
              <a:ext uri="{FF2B5EF4-FFF2-40B4-BE49-F238E27FC236}">
                <a16:creationId xmlns:a16="http://schemas.microsoft.com/office/drawing/2014/main" xmlns="" id="{17D6937C-EE1D-476A-9ACB-1676A7B851E7}"/>
              </a:ext>
            </a:extLst>
          </p:cNvPr>
          <p:cNvSpPr/>
          <p:nvPr userDrawn="1"/>
        </p:nvSpPr>
        <p:spPr>
          <a:xfrm rot="16200000">
            <a:off x="6493345" y="4153371"/>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4" name="Right Triangle 13">
            <a:extLst>
              <a:ext uri="{FF2B5EF4-FFF2-40B4-BE49-F238E27FC236}">
                <a16:creationId xmlns:a16="http://schemas.microsoft.com/office/drawing/2014/main" xmlns="" id="{9D7B853A-B3E1-43FD-85E8-FF447163A2C5}"/>
              </a:ext>
            </a:extLst>
          </p:cNvPr>
          <p:cNvSpPr/>
          <p:nvPr userDrawn="1"/>
        </p:nvSpPr>
        <p:spPr>
          <a:xfrm>
            <a:off x="1" y="3863765"/>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1" name="Picture Placeholder 10">
            <a:extLst>
              <a:ext uri="{FF2B5EF4-FFF2-40B4-BE49-F238E27FC236}">
                <a16:creationId xmlns:a16="http://schemas.microsoft.com/office/drawing/2014/main" xmlns="" id="{A8EB9CA2-F2D6-465F-B4DE-19B4C620104E}"/>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40713154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isyDeck Master - 5">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320543" y="1290955"/>
            <a:ext cx="2966366" cy="3856945"/>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169501"/>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userDrawn="1">
            <p:ph type="pic" sz="quarter" idx="12"/>
          </p:nvPr>
        </p:nvSpPr>
        <p:spPr>
          <a:xfrm>
            <a:off x="1032026" y="2215928"/>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5" name="Footer Placeholder 4">
            <a:extLst>
              <a:ext uri="{FF2B5EF4-FFF2-40B4-BE49-F238E27FC236}">
                <a16:creationId xmlns:a16="http://schemas.microsoft.com/office/drawing/2014/main" xmlns="" id="{8A9CC818-24A0-4BCF-9D14-A028B5FF53E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6023FAF-DB9E-4773-95AF-F99833FC387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8" name="Title 7">
            <a:extLst>
              <a:ext uri="{FF2B5EF4-FFF2-40B4-BE49-F238E27FC236}">
                <a16:creationId xmlns:a16="http://schemas.microsoft.com/office/drawing/2014/main" xmlns="" id="{F5066916-64E9-4ED0-A76A-95CE50B92C1C}"/>
              </a:ext>
            </a:extLst>
          </p:cNvPr>
          <p:cNvSpPr>
            <a:spLocks noGrp="1"/>
          </p:cNvSpPr>
          <p:nvPr>
            <p:ph type="title"/>
          </p:nvPr>
        </p:nvSpPr>
        <p:spPr/>
        <p:txBody>
          <a:bodyPr lIns="180000" tIns="93600" rIns="180000" bIns="93600"/>
          <a:lstStyle>
            <a:lvl1pPr algn="l">
              <a:defRPr/>
            </a:lvl1pPr>
          </a:lstStyle>
          <a:p>
            <a:endParaRPr lang="en-GB" dirty="0"/>
          </a:p>
        </p:txBody>
      </p:sp>
      <p:grpSp>
        <p:nvGrpSpPr>
          <p:cNvPr id="17" name="Group 16">
            <a:extLst>
              <a:ext uri="{FF2B5EF4-FFF2-40B4-BE49-F238E27FC236}">
                <a16:creationId xmlns:a16="http://schemas.microsoft.com/office/drawing/2014/main" xmlns="" id="{EA84DA5C-D860-4D28-A7F1-80D42D8C735C}"/>
              </a:ext>
            </a:extLst>
          </p:cNvPr>
          <p:cNvGrpSpPr/>
          <p:nvPr userDrawn="1"/>
        </p:nvGrpSpPr>
        <p:grpSpPr>
          <a:xfrm>
            <a:off x="155245" y="216759"/>
            <a:ext cx="437727" cy="569144"/>
            <a:chOff x="434532" y="466621"/>
            <a:chExt cx="1225205" cy="1225205"/>
          </a:xfrm>
        </p:grpSpPr>
        <p:grpSp>
          <p:nvGrpSpPr>
            <p:cNvPr id="29" name="Group 28">
              <a:extLst>
                <a:ext uri="{FF2B5EF4-FFF2-40B4-BE49-F238E27FC236}">
                  <a16:creationId xmlns:a16="http://schemas.microsoft.com/office/drawing/2014/main" xmlns="" id="{87DA950B-5659-4C2A-8792-CF9DAF11AA8B}"/>
                </a:ext>
              </a:extLst>
            </p:cNvPr>
            <p:cNvGrpSpPr>
              <a:grpSpLocks noChangeAspect="1"/>
            </p:cNvGrpSpPr>
            <p:nvPr userDrawn="1"/>
          </p:nvGrpSpPr>
          <p:grpSpPr>
            <a:xfrm rot="18900000">
              <a:off x="647093" y="812151"/>
              <a:ext cx="471488" cy="153360"/>
              <a:chOff x="11661248" y="7789719"/>
              <a:chExt cx="1293156" cy="420621"/>
            </a:xfrm>
          </p:grpSpPr>
          <p:cxnSp>
            <p:nvCxnSpPr>
              <p:cNvPr id="33" name="Straight Connector 32">
                <a:extLst>
                  <a:ext uri="{FF2B5EF4-FFF2-40B4-BE49-F238E27FC236}">
                    <a16:creationId xmlns:a16="http://schemas.microsoft.com/office/drawing/2014/main" xmlns="" id="{E1ED378E-7131-44EC-BAE4-E8191E8EFB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5A478B5D-653D-49EF-BF59-56055DE24D8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5" name="Straight Connector 34">
                <a:extLst>
                  <a:ext uri="{FF2B5EF4-FFF2-40B4-BE49-F238E27FC236}">
                    <a16:creationId xmlns:a16="http://schemas.microsoft.com/office/drawing/2014/main" xmlns="" id="{B3C5903F-D09C-48BC-BDC0-2E16B4171AD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0" name="Group 29">
              <a:extLst>
                <a:ext uri="{FF2B5EF4-FFF2-40B4-BE49-F238E27FC236}">
                  <a16:creationId xmlns:a16="http://schemas.microsoft.com/office/drawing/2014/main" xmlns="" id="{47AE6A6E-6D07-4A07-98E5-0109C22886C2}"/>
                </a:ext>
              </a:extLst>
            </p:cNvPr>
            <p:cNvGrpSpPr/>
            <p:nvPr userDrawn="1"/>
          </p:nvGrpSpPr>
          <p:grpSpPr>
            <a:xfrm>
              <a:off x="434532" y="466621"/>
              <a:ext cx="1225205" cy="1225205"/>
              <a:chOff x="12636425" y="442230"/>
              <a:chExt cx="1860336" cy="1860336"/>
            </a:xfrm>
          </p:grpSpPr>
          <p:cxnSp>
            <p:nvCxnSpPr>
              <p:cNvPr id="31" name="Straight Connector 30">
                <a:extLst>
                  <a:ext uri="{FF2B5EF4-FFF2-40B4-BE49-F238E27FC236}">
                    <a16:creationId xmlns:a16="http://schemas.microsoft.com/office/drawing/2014/main" xmlns="" id="{37D008A4-97C6-4DAF-8A48-2CB2A0641D0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2B656DFD-2580-4C5E-A437-D7C8AAE086B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91682693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isyDeck Master - 6">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0" y="0"/>
            <a:ext cx="3856179" cy="5013903"/>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013324"/>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p:ph type="pic" sz="quarter" idx="12"/>
          </p:nvPr>
        </p:nvSpPr>
        <p:spPr>
          <a:xfrm>
            <a:off x="1159282" y="1699303"/>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37" name="Title 7">
            <a:extLst>
              <a:ext uri="{FF2B5EF4-FFF2-40B4-BE49-F238E27FC236}">
                <a16:creationId xmlns:a16="http://schemas.microsoft.com/office/drawing/2014/main" xmlns="" id="{B0DB41D6-D4A4-4886-B3CF-411836FB1136}"/>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5FD6B45C-2946-4CCA-9C3A-58AE58576AF1}"/>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FBDC9E75-5486-444E-BFA9-DF637013E165}"/>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1" name="Group 20">
            <a:extLst>
              <a:ext uri="{FF2B5EF4-FFF2-40B4-BE49-F238E27FC236}">
                <a16:creationId xmlns:a16="http://schemas.microsoft.com/office/drawing/2014/main" xmlns="" id="{6CB2871B-D05B-4E9D-BCF1-4DF1BC80EA81}"/>
              </a:ext>
            </a:extLst>
          </p:cNvPr>
          <p:cNvGrpSpPr/>
          <p:nvPr userDrawn="1"/>
        </p:nvGrpSpPr>
        <p:grpSpPr>
          <a:xfrm>
            <a:off x="155245" y="216759"/>
            <a:ext cx="437727" cy="569144"/>
            <a:chOff x="434532" y="466621"/>
            <a:chExt cx="1225205" cy="1225205"/>
          </a:xfrm>
        </p:grpSpPr>
        <p:grpSp>
          <p:nvGrpSpPr>
            <p:cNvPr id="22" name="Group 21">
              <a:extLst>
                <a:ext uri="{FF2B5EF4-FFF2-40B4-BE49-F238E27FC236}">
                  <a16:creationId xmlns:a16="http://schemas.microsoft.com/office/drawing/2014/main" xmlns="" id="{98CBBB3F-218E-488E-9E24-65E8F747166C}"/>
                </a:ext>
              </a:extLst>
            </p:cNvPr>
            <p:cNvGrpSpPr>
              <a:grpSpLocks noChangeAspect="1"/>
            </p:cNvGrpSpPr>
            <p:nvPr userDrawn="1"/>
          </p:nvGrpSpPr>
          <p:grpSpPr>
            <a:xfrm rot="18900000">
              <a:off x="647093" y="812151"/>
              <a:ext cx="471488" cy="153360"/>
              <a:chOff x="11661248" y="7789719"/>
              <a:chExt cx="1293156" cy="420621"/>
            </a:xfrm>
          </p:grpSpPr>
          <p:cxnSp>
            <p:nvCxnSpPr>
              <p:cNvPr id="26" name="Straight Connector 25">
                <a:extLst>
                  <a:ext uri="{FF2B5EF4-FFF2-40B4-BE49-F238E27FC236}">
                    <a16:creationId xmlns:a16="http://schemas.microsoft.com/office/drawing/2014/main" xmlns="" id="{C45F6C28-F50F-4A0A-85B3-3B18637E414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7" name="Straight Connector 26">
                <a:extLst>
                  <a:ext uri="{FF2B5EF4-FFF2-40B4-BE49-F238E27FC236}">
                    <a16:creationId xmlns:a16="http://schemas.microsoft.com/office/drawing/2014/main" xmlns="" id="{CCD85347-3871-4F66-8197-3B57EAF1A5C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8C96888D-8DD6-4921-8D1C-CEAA0A7B0CB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xmlns="" id="{CB6505C6-4A87-401B-A825-FB8E488CB507}"/>
                </a:ext>
              </a:extLst>
            </p:cNvPr>
            <p:cNvGrpSpPr/>
            <p:nvPr userDrawn="1"/>
          </p:nvGrpSpPr>
          <p:grpSpPr>
            <a:xfrm>
              <a:off x="434532" y="466621"/>
              <a:ext cx="1225205" cy="1225205"/>
              <a:chOff x="12636425" y="442230"/>
              <a:chExt cx="1860336" cy="1860336"/>
            </a:xfrm>
          </p:grpSpPr>
          <p:cxnSp>
            <p:nvCxnSpPr>
              <p:cNvPr id="24" name="Straight Connector 23">
                <a:extLst>
                  <a:ext uri="{FF2B5EF4-FFF2-40B4-BE49-F238E27FC236}">
                    <a16:creationId xmlns:a16="http://schemas.microsoft.com/office/drawing/2014/main" xmlns="" id="{B370E27F-D52B-41FC-8266-CFA4CFE924D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4E4245BD-17B8-49E0-980F-B0C0FECCBDF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5497665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isyDeck Master - 7">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5830805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isyDeck Master - 8">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54B1C865-1EC1-4667-BCD3-0B18554AF92B}"/>
              </a:ext>
            </a:extLst>
          </p:cNvPr>
          <p:cNvSpPr/>
          <p:nvPr userDrawn="1"/>
        </p:nvSpPr>
        <p:spPr>
          <a:xfrm>
            <a:off x="3069934" y="0"/>
            <a:ext cx="2572332" cy="6372225"/>
          </a:xfrm>
          <a:prstGeom prst="rect">
            <a:avLst/>
          </a:prstGeom>
          <a:solidFill>
            <a:schemeClr val="bg2">
              <a:alpha val="2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29989565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0335205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isyDeck Master - 9">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xmlns="" id="{F97AE460-AD53-4696-9AF5-AA66BDF95B50}"/>
              </a:ext>
            </a:extLst>
          </p:cNvPr>
          <p:cNvSpPr/>
          <p:nvPr userDrawn="1"/>
        </p:nvSpPr>
        <p:spPr>
          <a:xfrm>
            <a:off x="388891" y="1190180"/>
            <a:ext cx="727287" cy="960996"/>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4" name="Freeform: Shape 23"/>
          <p:cNvSpPr/>
          <p:nvPr userDrawn="1"/>
        </p:nvSpPr>
        <p:spPr>
          <a:xfrm>
            <a:off x="0" y="3325997"/>
            <a:ext cx="1399349" cy="2743758"/>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1" name="Freeform: Shape 20"/>
          <p:cNvSpPr/>
          <p:nvPr userDrawn="1"/>
        </p:nvSpPr>
        <p:spPr>
          <a:xfrm>
            <a:off x="7326964" y="3329286"/>
            <a:ext cx="1385236" cy="2743758"/>
          </a:xfrm>
          <a:custGeom>
            <a:avLst/>
            <a:gdLst>
              <a:gd name="connsiteX0" fmla="*/ 3877298 w 3877298"/>
              <a:gd name="connsiteY0" fmla="*/ 0 h 4378011"/>
              <a:gd name="connsiteX1" fmla="*/ 3877298 w 3877298"/>
              <a:gd name="connsiteY1" fmla="*/ 4378011 h 4378011"/>
              <a:gd name="connsiteX2" fmla="*/ 0 w 3877298"/>
              <a:gd name="connsiteY2" fmla="*/ 4378011 h 4378011"/>
              <a:gd name="connsiteX3" fmla="*/ 3877298 w 3877298"/>
              <a:gd name="connsiteY3" fmla="*/ 0 h 4378011"/>
            </a:gdLst>
            <a:ahLst/>
            <a:cxnLst>
              <a:cxn ang="0">
                <a:pos x="connsiteX0" y="connsiteY0"/>
              </a:cxn>
              <a:cxn ang="0">
                <a:pos x="connsiteX1" y="connsiteY1"/>
              </a:cxn>
              <a:cxn ang="0">
                <a:pos x="connsiteX2" y="connsiteY2"/>
              </a:cxn>
              <a:cxn ang="0">
                <a:pos x="connsiteX3" y="connsiteY3"/>
              </a:cxn>
            </a:cxnLst>
            <a:rect l="l" t="t" r="r" b="b"/>
            <a:pathLst>
              <a:path w="3877298" h="4378011">
                <a:moveTo>
                  <a:pt x="3877298" y="0"/>
                </a:moveTo>
                <a:lnTo>
                  <a:pt x="3877298" y="4378011"/>
                </a:lnTo>
                <a:lnTo>
                  <a:pt x="0" y="4378011"/>
                </a:lnTo>
                <a:lnTo>
                  <a:pt x="3877298"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7" name="Picture Placeholder 26"/>
          <p:cNvSpPr>
            <a:spLocks noGrp="1"/>
          </p:cNvSpPr>
          <p:nvPr>
            <p:ph type="pic" sz="quarter" idx="10"/>
          </p:nvPr>
        </p:nvSpPr>
        <p:spPr>
          <a:xfrm>
            <a:off x="188295" y="3325997"/>
            <a:ext cx="8349723" cy="2747048"/>
          </a:xfrm>
          <a:custGeom>
            <a:avLst/>
            <a:gdLst>
              <a:gd name="connsiteX0" fmla="*/ 17242713 w 23371009"/>
              <a:gd name="connsiteY0" fmla="*/ 0 h 4428565"/>
              <a:gd name="connsiteX1" fmla="*/ 23371009 w 23371009"/>
              <a:gd name="connsiteY1" fmla="*/ 0 h 4428565"/>
              <a:gd name="connsiteX2" fmla="*/ 19448941 w 23371009"/>
              <a:gd name="connsiteY2" fmla="*/ 4428565 h 4428565"/>
              <a:gd name="connsiteX3" fmla="*/ 13320642 w 23371009"/>
              <a:gd name="connsiteY3" fmla="*/ 4428565 h 4428565"/>
              <a:gd name="connsiteX4" fmla="*/ 10582390 w 23371009"/>
              <a:gd name="connsiteY4" fmla="*/ 0 h 4428565"/>
              <a:gd name="connsiteX5" fmla="*/ 16710689 w 23371009"/>
              <a:gd name="connsiteY5" fmla="*/ 0 h 4428565"/>
              <a:gd name="connsiteX6" fmla="*/ 12788618 w 23371009"/>
              <a:gd name="connsiteY6" fmla="*/ 4428565 h 4428565"/>
              <a:gd name="connsiteX7" fmla="*/ 6660321 w 23371009"/>
              <a:gd name="connsiteY7" fmla="*/ 4428565 h 4428565"/>
              <a:gd name="connsiteX8" fmla="*/ 3922069 w 23371009"/>
              <a:gd name="connsiteY8" fmla="*/ 0 h 4428565"/>
              <a:gd name="connsiteX9" fmla="*/ 10050367 w 23371009"/>
              <a:gd name="connsiteY9" fmla="*/ 0 h 4428565"/>
              <a:gd name="connsiteX10" fmla="*/ 6128298 w 23371009"/>
              <a:gd name="connsiteY10" fmla="*/ 4428565 h 4428565"/>
              <a:gd name="connsiteX11" fmla="*/ 0 w 23371009"/>
              <a:gd name="connsiteY11" fmla="*/ 4428565 h 442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71009" h="4428565">
                <a:moveTo>
                  <a:pt x="17242713" y="0"/>
                </a:moveTo>
                <a:lnTo>
                  <a:pt x="23371009" y="0"/>
                </a:lnTo>
                <a:lnTo>
                  <a:pt x="19448941" y="4428565"/>
                </a:lnTo>
                <a:lnTo>
                  <a:pt x="13320642" y="4428565"/>
                </a:lnTo>
                <a:close/>
                <a:moveTo>
                  <a:pt x="10582390" y="0"/>
                </a:moveTo>
                <a:lnTo>
                  <a:pt x="16710689" y="0"/>
                </a:lnTo>
                <a:lnTo>
                  <a:pt x="12788618" y="4428565"/>
                </a:lnTo>
                <a:lnTo>
                  <a:pt x="6660321" y="4428565"/>
                </a:lnTo>
                <a:close/>
                <a:moveTo>
                  <a:pt x="3922069" y="0"/>
                </a:moveTo>
                <a:lnTo>
                  <a:pt x="10050367" y="0"/>
                </a:lnTo>
                <a:lnTo>
                  <a:pt x="6128298" y="4428565"/>
                </a:lnTo>
                <a:lnTo>
                  <a:pt x="0" y="442856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70" name="Title 1">
            <a:extLst>
              <a:ext uri="{FF2B5EF4-FFF2-40B4-BE49-F238E27FC236}">
                <a16:creationId xmlns:a16="http://schemas.microsoft.com/office/drawing/2014/main" xmlns="" id="{DFF384F6-49BF-4AEF-B515-1B85634884D9}"/>
              </a:ext>
            </a:extLst>
          </p:cNvPr>
          <p:cNvSpPr>
            <a:spLocks noGrp="1"/>
          </p:cNvSpPr>
          <p:nvPr>
            <p:ph type="title"/>
          </p:nvPr>
        </p:nvSpPr>
        <p:spPr>
          <a:xfrm>
            <a:off x="444368" y="1190180"/>
            <a:ext cx="5896382" cy="848889"/>
          </a:xfrm>
        </p:spPr>
        <p:txBody>
          <a:bodyPr lIns="180000" tIns="93600" rIns="180000" bIns="93600"/>
          <a:lstStyle>
            <a:lvl1pPr algn="l">
              <a:defRPr sz="4288"/>
            </a:lvl1pPr>
          </a:lstStyle>
          <a:p>
            <a:endParaRPr lang="en-GB" dirty="0"/>
          </a:p>
        </p:txBody>
      </p:sp>
    </p:spTree>
    <p:extLst>
      <p:ext uri="{BB962C8B-B14F-4D97-AF65-F5344CB8AC3E}">
        <p14:creationId xmlns:p14="http://schemas.microsoft.com/office/powerpoint/2010/main" xmlns="" val="134210502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isyDeck Master - 10">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xmlns="" id="{9FDB6977-00A8-4AA9-80A0-BC246DCE6AED}"/>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flipH="1">
            <a:off x="1381882" y="2263912"/>
            <a:ext cx="4786101" cy="264462"/>
          </a:xfrm>
          <a:prstGeom prst="rect">
            <a:avLst/>
          </a:prstGeom>
        </p:spPr>
      </p:pic>
      <p:sp>
        <p:nvSpPr>
          <p:cNvPr id="59" name="Rectangle 58"/>
          <p:cNvSpPr/>
          <p:nvPr userDrawn="1"/>
        </p:nvSpPr>
        <p:spPr>
          <a:xfrm>
            <a:off x="0" y="4006383"/>
            <a:ext cx="8712200" cy="236584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sp>
        <p:nvSpPr>
          <p:cNvPr id="24" name="Picture Placeholder 7">
            <a:extLst>
              <a:ext uri="{FF2B5EF4-FFF2-40B4-BE49-F238E27FC236}">
                <a16:creationId xmlns:a16="http://schemas.microsoft.com/office/drawing/2014/main" xmlns="" id="{000119CF-1EBB-4CEC-A410-AEACA5B0C041}"/>
              </a:ext>
            </a:extLst>
          </p:cNvPr>
          <p:cNvSpPr>
            <a:spLocks noGrp="1"/>
          </p:cNvSpPr>
          <p:nvPr>
            <p:ph type="pic" sz="quarter" idx="15"/>
          </p:nvPr>
        </p:nvSpPr>
        <p:spPr>
          <a:xfrm>
            <a:off x="0" y="0"/>
            <a:ext cx="3741482" cy="4004970"/>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6" name="Group 25">
            <a:extLst>
              <a:ext uri="{FF2B5EF4-FFF2-40B4-BE49-F238E27FC236}">
                <a16:creationId xmlns:a16="http://schemas.microsoft.com/office/drawing/2014/main" xmlns="" id="{5C8D27CF-2BF5-4877-9A7E-6E9802A3D7D8}"/>
              </a:ext>
            </a:extLst>
          </p:cNvPr>
          <p:cNvGrpSpPr>
            <a:grpSpLocks noChangeAspect="1"/>
          </p:cNvGrpSpPr>
          <p:nvPr userDrawn="1"/>
        </p:nvGrpSpPr>
        <p:grpSpPr>
          <a:xfrm rot="8100000" flipH="1" flipV="1">
            <a:off x="-5297" y="4073386"/>
            <a:ext cx="168448" cy="71240"/>
            <a:chOff x="11661248" y="7789719"/>
            <a:chExt cx="1293156" cy="420621"/>
          </a:xfrm>
        </p:grpSpPr>
        <p:cxnSp>
          <p:nvCxnSpPr>
            <p:cNvPr id="27" name="Straight Connector 26">
              <a:extLst>
                <a:ext uri="{FF2B5EF4-FFF2-40B4-BE49-F238E27FC236}">
                  <a16:creationId xmlns:a16="http://schemas.microsoft.com/office/drawing/2014/main" xmlns="" id="{4F565BB4-2839-4877-976D-996C5AA5C41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2AA3C5C9-FFE6-40A7-AEA0-C7C26FE5E3A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DFD34F5E-0342-45C2-85A1-9D9D3591AB80}"/>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7" name="Group 46">
            <a:extLst>
              <a:ext uri="{FF2B5EF4-FFF2-40B4-BE49-F238E27FC236}">
                <a16:creationId xmlns:a16="http://schemas.microsoft.com/office/drawing/2014/main" xmlns="" id="{D71ACFE2-4ED5-489B-9C3C-DE9B3D609536}"/>
              </a:ext>
            </a:extLst>
          </p:cNvPr>
          <p:cNvGrpSpPr/>
          <p:nvPr userDrawn="1"/>
        </p:nvGrpSpPr>
        <p:grpSpPr>
          <a:xfrm>
            <a:off x="3917300" y="216759"/>
            <a:ext cx="437727" cy="569144"/>
            <a:chOff x="494744" y="523692"/>
            <a:chExt cx="1225205" cy="1225205"/>
          </a:xfrm>
        </p:grpSpPr>
        <p:grpSp>
          <p:nvGrpSpPr>
            <p:cNvPr id="48" name="Group 47">
              <a:extLst>
                <a:ext uri="{FF2B5EF4-FFF2-40B4-BE49-F238E27FC236}">
                  <a16:creationId xmlns:a16="http://schemas.microsoft.com/office/drawing/2014/main" xmlns="" id="{DEB475E3-C172-41F6-B447-7E67E7B35B81}"/>
                </a:ext>
              </a:extLst>
            </p:cNvPr>
            <p:cNvGrpSpPr>
              <a:grpSpLocks noChangeAspect="1"/>
            </p:cNvGrpSpPr>
            <p:nvPr userDrawn="1"/>
          </p:nvGrpSpPr>
          <p:grpSpPr>
            <a:xfrm rot="18900000">
              <a:off x="707305" y="869222"/>
              <a:ext cx="471488" cy="153360"/>
              <a:chOff x="11661248" y="7789719"/>
              <a:chExt cx="1293156" cy="420621"/>
            </a:xfrm>
          </p:grpSpPr>
          <p:cxnSp>
            <p:nvCxnSpPr>
              <p:cNvPr id="52" name="Straight Connector 51">
                <a:extLst>
                  <a:ext uri="{FF2B5EF4-FFF2-40B4-BE49-F238E27FC236}">
                    <a16:creationId xmlns:a16="http://schemas.microsoft.com/office/drawing/2014/main" xmlns="" id="{E79079EB-4935-43DA-ABB8-1CAA9E27EE8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xmlns="" id="{FE4136F6-D1B9-4D40-9DB5-DCCF818AB852}"/>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xmlns="" id="{FDA2DD61-B4C6-432F-8E20-707B5E56F6A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9" name="Group 48">
              <a:extLst>
                <a:ext uri="{FF2B5EF4-FFF2-40B4-BE49-F238E27FC236}">
                  <a16:creationId xmlns:a16="http://schemas.microsoft.com/office/drawing/2014/main" xmlns="" id="{CA48B89E-3091-427C-9242-0BD2B3935FD3}"/>
                </a:ext>
              </a:extLst>
            </p:cNvPr>
            <p:cNvGrpSpPr/>
            <p:nvPr userDrawn="1"/>
          </p:nvGrpSpPr>
          <p:grpSpPr>
            <a:xfrm>
              <a:off x="494744" y="523692"/>
              <a:ext cx="1225205" cy="1225205"/>
              <a:chOff x="12636425" y="442230"/>
              <a:chExt cx="1860336" cy="1860336"/>
            </a:xfrm>
          </p:grpSpPr>
          <p:cxnSp>
            <p:nvCxnSpPr>
              <p:cNvPr id="50" name="Straight Connector 49">
                <a:extLst>
                  <a:ext uri="{FF2B5EF4-FFF2-40B4-BE49-F238E27FC236}">
                    <a16:creationId xmlns:a16="http://schemas.microsoft.com/office/drawing/2014/main" xmlns="" id="{E99FDFAD-64D8-45B1-A80F-0E87A989703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1" name="Straight Connector 50">
                <a:extLst>
                  <a:ext uri="{FF2B5EF4-FFF2-40B4-BE49-F238E27FC236}">
                    <a16:creationId xmlns:a16="http://schemas.microsoft.com/office/drawing/2014/main" xmlns="" id="{C1017105-7659-4DA7-8925-8879A386D50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5" name="Title 7">
            <a:extLst>
              <a:ext uri="{FF2B5EF4-FFF2-40B4-BE49-F238E27FC236}">
                <a16:creationId xmlns:a16="http://schemas.microsoft.com/office/drawing/2014/main" xmlns="" id="{7103B84D-8727-438D-AB26-490BDC64DE66}"/>
              </a:ext>
            </a:extLst>
          </p:cNvPr>
          <p:cNvSpPr>
            <a:spLocks noGrp="1"/>
          </p:cNvSpPr>
          <p:nvPr>
            <p:ph type="title"/>
          </p:nvPr>
        </p:nvSpPr>
        <p:spPr>
          <a:xfrm>
            <a:off x="4050573" y="376381"/>
            <a:ext cx="4341085" cy="602506"/>
          </a:xfrm>
        </p:spPr>
        <p:txBody>
          <a:bodyPr lIns="180000" tIns="93600" rIns="180000" bIns="93600"/>
          <a:lstStyle>
            <a:lvl1pPr algn="l">
              <a:defRPr/>
            </a:lvl1pPr>
          </a:lstStyle>
          <a:p>
            <a:endParaRPr lang="en-GB" dirty="0"/>
          </a:p>
        </p:txBody>
      </p:sp>
      <p:sp>
        <p:nvSpPr>
          <p:cNvPr id="18" name="Parallelogram 17">
            <a:extLst>
              <a:ext uri="{FF2B5EF4-FFF2-40B4-BE49-F238E27FC236}">
                <a16:creationId xmlns:a16="http://schemas.microsoft.com/office/drawing/2014/main" xmlns="" id="{284C5CCE-DA33-4A23-A842-8D42C631846F}"/>
              </a:ext>
            </a:extLst>
          </p:cNvPr>
          <p:cNvSpPr/>
          <p:nvPr userDrawn="1"/>
        </p:nvSpPr>
        <p:spPr>
          <a:xfrm>
            <a:off x="2979782" y="4004970"/>
            <a:ext cx="2752637" cy="2367255"/>
          </a:xfrm>
          <a:prstGeom prst="parallelogram">
            <a:avLst>
              <a:gd name="adj" fmla="val 0"/>
            </a:avLst>
          </a:prstGeom>
          <a:solidFill>
            <a:srgbClr val="D8D8D8">
              <a:alpha val="20000"/>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xmlns="" id="{DA6877D5-7F0A-439E-B0DE-70AC2300A010}"/>
              </a:ext>
            </a:extLst>
          </p:cNvPr>
          <p:cNvGrpSpPr>
            <a:grpSpLocks noChangeAspect="1"/>
          </p:cNvGrpSpPr>
          <p:nvPr userDrawn="1"/>
        </p:nvGrpSpPr>
        <p:grpSpPr>
          <a:xfrm rot="8100000" flipH="1" flipV="1">
            <a:off x="2974484" y="4073386"/>
            <a:ext cx="168448" cy="71240"/>
            <a:chOff x="11661248" y="7789719"/>
            <a:chExt cx="1293156" cy="420621"/>
          </a:xfrm>
        </p:grpSpPr>
        <p:cxnSp>
          <p:nvCxnSpPr>
            <p:cNvPr id="20" name="Straight Connector 19">
              <a:extLst>
                <a:ext uri="{FF2B5EF4-FFF2-40B4-BE49-F238E27FC236}">
                  <a16:creationId xmlns:a16="http://schemas.microsoft.com/office/drawing/2014/main" xmlns="" id="{00910394-94B2-4E6A-810C-A30F310872E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8D135A01-F4EF-4F81-8CA3-56A84F88456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507D5E48-9EA7-4411-911F-3ED2DD40D009}"/>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xmlns="" id="{2652204D-D06D-4F43-ADAB-628EAF9DA770}"/>
              </a:ext>
            </a:extLst>
          </p:cNvPr>
          <p:cNvGrpSpPr>
            <a:grpSpLocks noChangeAspect="1"/>
          </p:cNvGrpSpPr>
          <p:nvPr userDrawn="1"/>
        </p:nvGrpSpPr>
        <p:grpSpPr>
          <a:xfrm rot="8100000" flipH="1" flipV="1">
            <a:off x="5727122" y="4073386"/>
            <a:ext cx="168448" cy="71240"/>
            <a:chOff x="11661248" y="7789719"/>
            <a:chExt cx="1293156" cy="420621"/>
          </a:xfrm>
        </p:grpSpPr>
        <p:cxnSp>
          <p:nvCxnSpPr>
            <p:cNvPr id="25" name="Straight Connector 24">
              <a:extLst>
                <a:ext uri="{FF2B5EF4-FFF2-40B4-BE49-F238E27FC236}">
                  <a16:creationId xmlns:a16="http://schemas.microsoft.com/office/drawing/2014/main" xmlns="" id="{686BA8DA-C3FF-4579-AF1C-759B4CCCB717}"/>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9710B475-D137-496E-9939-A8C0F07AB7DD}"/>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98434DA1-8671-4AC7-8A70-55DF3785B982}"/>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08292299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isyDeck Master - 11">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4709519"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4709519"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4704222"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2" name="Group 31">
            <a:extLst>
              <a:ext uri="{FF2B5EF4-FFF2-40B4-BE49-F238E27FC236}">
                <a16:creationId xmlns:a16="http://schemas.microsoft.com/office/drawing/2014/main" xmlns="" id="{E4B23F8D-8C38-4A56-B1A8-35145F8F4FCA}"/>
              </a:ext>
            </a:extLst>
          </p:cNvPr>
          <p:cNvGrpSpPr/>
          <p:nvPr userDrawn="1"/>
        </p:nvGrpSpPr>
        <p:grpSpPr>
          <a:xfrm>
            <a:off x="155245" y="216759"/>
            <a:ext cx="437727" cy="569144"/>
            <a:chOff x="494744" y="523692"/>
            <a:chExt cx="1225205" cy="1225205"/>
          </a:xfrm>
        </p:grpSpPr>
        <p:grpSp>
          <p:nvGrpSpPr>
            <p:cNvPr id="33" name="Group 32">
              <a:extLst>
                <a:ext uri="{FF2B5EF4-FFF2-40B4-BE49-F238E27FC236}">
                  <a16:creationId xmlns:a16="http://schemas.microsoft.com/office/drawing/2014/main" xmlns="" id="{FFB94A97-A7BA-4F85-B597-B214CD1C9A80}"/>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xmlns="" id="{CF05A8D4-203F-4E89-9C88-02AE549BCA0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8281D09A-4FE4-4569-8854-C199940CAAD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097F09D8-E02B-45C4-9D1D-4046B114C08E}"/>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67C1F77A-6423-48E0-936E-55B12B6A29B5}"/>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xmlns="" id="{8E5D94E6-9459-409A-B6A6-31BEFD1104A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D9C4DDCA-25EA-4CB9-A9BA-6021504E112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xmlns="" id="{5614D797-A09E-4B4D-90E6-3A075C3C985E}"/>
              </a:ext>
            </a:extLst>
          </p:cNvPr>
          <p:cNvSpPr>
            <a:spLocks noGrp="1"/>
          </p:cNvSpPr>
          <p:nvPr>
            <p:ph type="title"/>
          </p:nvPr>
        </p:nvSpPr>
        <p:spPr>
          <a:xfrm>
            <a:off x="288518"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05681734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isyDeck Master - 12">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1" y="0"/>
            <a:ext cx="4688908"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 name="Rectangle 2">
            <a:extLst>
              <a:ext uri="{FF2B5EF4-FFF2-40B4-BE49-F238E27FC236}">
                <a16:creationId xmlns:a16="http://schemas.microsoft.com/office/drawing/2014/main" xmlns="" id="{7C157E14-A38C-481D-8748-5AA105EB2797}"/>
              </a:ext>
            </a:extLst>
          </p:cNvPr>
          <p:cNvSpPr/>
          <p:nvPr userDrawn="1"/>
        </p:nvSpPr>
        <p:spPr>
          <a:xfrm>
            <a:off x="4688908" y="226172"/>
            <a:ext cx="4023292" cy="228633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4" name="Picture 3">
            <a:extLst>
              <a:ext uri="{FF2B5EF4-FFF2-40B4-BE49-F238E27FC236}">
                <a16:creationId xmlns:a16="http://schemas.microsoft.com/office/drawing/2014/main" xmlns="" id="{A4513F5E-C12D-4ECF-964C-FB9BE4A8617B}"/>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646335" y="3081073"/>
            <a:ext cx="6372225" cy="210078"/>
          </a:xfrm>
          <a:prstGeom prst="rect">
            <a:avLst/>
          </a:prstGeom>
        </p:spPr>
      </p:pic>
      <p:grpSp>
        <p:nvGrpSpPr>
          <p:cNvPr id="5" name="Group 4">
            <a:extLst>
              <a:ext uri="{FF2B5EF4-FFF2-40B4-BE49-F238E27FC236}">
                <a16:creationId xmlns:a16="http://schemas.microsoft.com/office/drawing/2014/main" xmlns="" id="{6DC04F0D-1FFF-4EA0-A9EC-9BD137AA69EF}"/>
              </a:ext>
            </a:extLst>
          </p:cNvPr>
          <p:cNvGrpSpPr>
            <a:grpSpLocks noChangeAspect="1"/>
          </p:cNvGrpSpPr>
          <p:nvPr userDrawn="1"/>
        </p:nvGrpSpPr>
        <p:grpSpPr>
          <a:xfrm rot="18900000" flipH="1" flipV="1">
            <a:off x="8549049" y="2375124"/>
            <a:ext cx="168448" cy="71240"/>
            <a:chOff x="11661248" y="7789719"/>
            <a:chExt cx="1293156" cy="420621"/>
          </a:xfrm>
        </p:grpSpPr>
        <p:cxnSp>
          <p:nvCxnSpPr>
            <p:cNvPr id="6" name="Straight Connector 5">
              <a:extLst>
                <a:ext uri="{FF2B5EF4-FFF2-40B4-BE49-F238E27FC236}">
                  <a16:creationId xmlns:a16="http://schemas.microsoft.com/office/drawing/2014/main" xmlns="" id="{73E90363-046D-43F0-9C2E-689A0D26BE3B}"/>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xmlns="" id="{6361962C-3FC4-4F33-A05D-95517FE6B738}"/>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 name="Straight Connector 7">
              <a:extLst>
                <a:ext uri="{FF2B5EF4-FFF2-40B4-BE49-F238E27FC236}">
                  <a16:creationId xmlns:a16="http://schemas.microsoft.com/office/drawing/2014/main" xmlns="" id="{409916C7-7315-4F9D-B7B3-722CF8734AD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xmlns="" id="{FB439073-07E3-4466-8F10-572CEA18F219}"/>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xmlns="" id="{9DBA48A9-4445-4E5A-A316-11F361AC1FE2}"/>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3144720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isyDeck Master - 13">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8712200" cy="406332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0" name="Group 19">
            <a:extLst>
              <a:ext uri="{FF2B5EF4-FFF2-40B4-BE49-F238E27FC236}">
                <a16:creationId xmlns:a16="http://schemas.microsoft.com/office/drawing/2014/main" xmlns="" id="{38862FEC-6896-41CF-8C9A-96110FC9052D}"/>
              </a:ext>
            </a:extLst>
          </p:cNvPr>
          <p:cNvGrpSpPr>
            <a:grpSpLocks noChangeAspect="1"/>
          </p:cNvGrpSpPr>
          <p:nvPr userDrawn="1"/>
        </p:nvGrpSpPr>
        <p:grpSpPr>
          <a:xfrm rot="8100000" flipH="1" flipV="1">
            <a:off x="-5298" y="4133460"/>
            <a:ext cx="168448" cy="71240"/>
            <a:chOff x="11661248" y="7789719"/>
            <a:chExt cx="1293156" cy="420621"/>
          </a:xfrm>
        </p:grpSpPr>
        <p:cxnSp>
          <p:nvCxnSpPr>
            <p:cNvPr id="21" name="Straight Connector 20">
              <a:extLst>
                <a:ext uri="{FF2B5EF4-FFF2-40B4-BE49-F238E27FC236}">
                  <a16:creationId xmlns:a16="http://schemas.microsoft.com/office/drawing/2014/main" xmlns="" id="{13787642-DA47-48A0-A0BD-E9A53BA10382}"/>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F59EDE57-3F00-4C2A-AB08-5B36AC1095F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571804AA-E1E7-431B-B572-AF6F541BECC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 name="Footer Placeholder 3">
            <a:extLst>
              <a:ext uri="{FF2B5EF4-FFF2-40B4-BE49-F238E27FC236}">
                <a16:creationId xmlns:a16="http://schemas.microsoft.com/office/drawing/2014/main" xmlns="" id="{EAFC1526-9F22-4002-A3EF-B52891089597}"/>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D67B1433-80F4-43C0-B9A4-B589C982F928}"/>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92692124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isyDeck Master - 14">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F502ABED-DFF9-4081-A27E-BC1631A99549}"/>
              </a:ext>
            </a:extLst>
          </p:cNvPr>
          <p:cNvGrpSpPr/>
          <p:nvPr userDrawn="1"/>
        </p:nvGrpSpPr>
        <p:grpSpPr>
          <a:xfrm flipH="1">
            <a:off x="3998454" y="2935267"/>
            <a:ext cx="93854" cy="501692"/>
            <a:chOff x="12931152" y="6318794"/>
            <a:chExt cx="262700" cy="1080000"/>
          </a:xfrm>
        </p:grpSpPr>
        <p:cxnSp>
          <p:nvCxnSpPr>
            <p:cNvPr id="13" name="Straight Connector 12">
              <a:extLst>
                <a:ext uri="{FF2B5EF4-FFF2-40B4-BE49-F238E27FC236}">
                  <a16:creationId xmlns:a16="http://schemas.microsoft.com/office/drawing/2014/main" xmlns=""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7" name="Picture 6" descr="A close up of a logo&#10;&#10;Description generated with very high confidence">
            <a:extLst>
              <a:ext uri="{FF2B5EF4-FFF2-40B4-BE49-F238E27FC236}">
                <a16:creationId xmlns:a16="http://schemas.microsoft.com/office/drawing/2014/main" xmlns="" id="{3D03C028-6925-420C-BBC9-B0028D4F79C9}"/>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flipH="1">
            <a:off x="2675623" y="0"/>
            <a:ext cx="1522183" cy="6372225"/>
          </a:xfrm>
          <a:prstGeom prst="rect">
            <a:avLst/>
          </a:prstGeom>
        </p:spPr>
      </p:pic>
      <p:sp>
        <p:nvSpPr>
          <p:cNvPr id="17" name="Picture Placeholder 16">
            <a:extLst>
              <a:ext uri="{FF2B5EF4-FFF2-40B4-BE49-F238E27FC236}">
                <a16:creationId xmlns:a16="http://schemas.microsoft.com/office/drawing/2014/main" xmlns="" id="{62B09D8A-2E8F-41B9-85B8-E5DC9D3C0A71}"/>
              </a:ext>
            </a:extLst>
          </p:cNvPr>
          <p:cNvSpPr>
            <a:spLocks noGrp="1"/>
          </p:cNvSpPr>
          <p:nvPr>
            <p:ph type="pic" sz="quarter" idx="22"/>
          </p:nvPr>
        </p:nvSpPr>
        <p:spPr>
          <a:xfrm>
            <a:off x="2797125" y="-1"/>
            <a:ext cx="5915075" cy="6372225"/>
          </a:xfrm>
          <a:custGeom>
            <a:avLst/>
            <a:gdLst>
              <a:gd name="connsiteX0" fmla="*/ 0 w 16556390"/>
              <a:gd name="connsiteY0" fmla="*/ 0 h 13717588"/>
              <a:gd name="connsiteX1" fmla="*/ 16556390 w 16556390"/>
              <a:gd name="connsiteY1" fmla="*/ 0 h 13717588"/>
              <a:gd name="connsiteX2" fmla="*/ 16556390 w 16556390"/>
              <a:gd name="connsiteY2" fmla="*/ 19022 h 13717588"/>
              <a:gd name="connsiteX3" fmla="*/ 16556390 w 16556390"/>
              <a:gd name="connsiteY3" fmla="*/ 13698568 h 13717588"/>
              <a:gd name="connsiteX4" fmla="*/ 16556390 w 16556390"/>
              <a:gd name="connsiteY4" fmla="*/ 13717588 h 13717588"/>
              <a:gd name="connsiteX5" fmla="*/ 0 w 16556390"/>
              <a:gd name="connsiteY5" fmla="*/ 13717588 h 13717588"/>
              <a:gd name="connsiteX6" fmla="*/ 3984755 w 16556390"/>
              <a:gd name="connsiteY6" fmla="*/ 685721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6390" h="13717588">
                <a:moveTo>
                  <a:pt x="0" y="0"/>
                </a:moveTo>
                <a:lnTo>
                  <a:pt x="16556390" y="0"/>
                </a:lnTo>
                <a:lnTo>
                  <a:pt x="16556390" y="19022"/>
                </a:lnTo>
                <a:lnTo>
                  <a:pt x="16556390" y="13698568"/>
                </a:lnTo>
                <a:lnTo>
                  <a:pt x="16556390" y="13717588"/>
                </a:lnTo>
                <a:lnTo>
                  <a:pt x="0" y="13717588"/>
                </a:lnTo>
                <a:lnTo>
                  <a:pt x="3984755" y="68572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62091955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isyDeck Master - 15">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xmlns="" id="{DD01B560-6D91-4719-BEA6-0F6EAAE2BAE4}"/>
              </a:ext>
            </a:extLst>
          </p:cNvPr>
          <p:cNvSpPr>
            <a:spLocks noGrp="1"/>
          </p:cNvSpPr>
          <p:nvPr>
            <p:ph type="pic" sz="quarter" idx="19"/>
          </p:nvPr>
        </p:nvSpPr>
        <p:spPr>
          <a:xfrm>
            <a:off x="0" y="-1"/>
            <a:ext cx="5915075" cy="6372225"/>
          </a:xfrm>
          <a:custGeom>
            <a:avLst/>
            <a:gdLst>
              <a:gd name="connsiteX0" fmla="*/ 0 w 6415266"/>
              <a:gd name="connsiteY0" fmla="*/ 0 h 6858000"/>
              <a:gd name="connsiteX1" fmla="*/ 6415266 w 6415266"/>
              <a:gd name="connsiteY1" fmla="*/ 0 h 6858000"/>
              <a:gd name="connsiteX2" fmla="*/ 4871254 w 6415266"/>
              <a:gd name="connsiteY2" fmla="*/ 3428208 h 6858000"/>
              <a:gd name="connsiteX3" fmla="*/ 6415266 w 6415266"/>
              <a:gd name="connsiteY3" fmla="*/ 6858000 h 6858000"/>
              <a:gd name="connsiteX4" fmla="*/ 0 w 6415266"/>
              <a:gd name="connsiteY4" fmla="*/ 6858000 h 6858000"/>
              <a:gd name="connsiteX5" fmla="*/ 0 w 6415266"/>
              <a:gd name="connsiteY5" fmla="*/ 6848491 h 6858000"/>
              <a:gd name="connsiteX6" fmla="*/ 0 w 6415266"/>
              <a:gd name="connsiteY6" fmla="*/ 95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5266" h="6858000">
                <a:moveTo>
                  <a:pt x="0" y="0"/>
                </a:moveTo>
                <a:lnTo>
                  <a:pt x="6415266" y="0"/>
                </a:lnTo>
                <a:lnTo>
                  <a:pt x="4871254" y="3428208"/>
                </a:lnTo>
                <a:lnTo>
                  <a:pt x="6415266" y="6858000"/>
                </a:lnTo>
                <a:lnTo>
                  <a:pt x="0" y="6858000"/>
                </a:lnTo>
                <a:lnTo>
                  <a:pt x="0" y="6848491"/>
                </a:lnTo>
                <a:lnTo>
                  <a:pt x="0" y="95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pic>
        <p:nvPicPr>
          <p:cNvPr id="7" name="Picture 6" descr="A close up of a logo&#10;&#10;Description generated with very high confidence">
            <a:extLst>
              <a:ext uri="{FF2B5EF4-FFF2-40B4-BE49-F238E27FC236}">
                <a16:creationId xmlns:a16="http://schemas.microsoft.com/office/drawing/2014/main" xmlns="" id="{3D03C028-6925-420C-BBC9-B0028D4F79C9}"/>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514394" y="0"/>
            <a:ext cx="1522183" cy="6372225"/>
          </a:xfrm>
          <a:prstGeom prst="rect">
            <a:avLst/>
          </a:prstGeom>
        </p:spPr>
      </p:pic>
      <p:sp>
        <p:nvSpPr>
          <p:cNvPr id="2" name="Footer Placeholder 1">
            <a:extLst>
              <a:ext uri="{FF2B5EF4-FFF2-40B4-BE49-F238E27FC236}">
                <a16:creationId xmlns:a16="http://schemas.microsoft.com/office/drawing/2014/main" xmlns=""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F502ABED-DFF9-4081-A27E-BC1631A99549}"/>
              </a:ext>
            </a:extLst>
          </p:cNvPr>
          <p:cNvGrpSpPr/>
          <p:nvPr userDrawn="1"/>
        </p:nvGrpSpPr>
        <p:grpSpPr>
          <a:xfrm>
            <a:off x="4619892" y="2935267"/>
            <a:ext cx="93854" cy="501692"/>
            <a:chOff x="12931152" y="6318794"/>
            <a:chExt cx="262700" cy="1080000"/>
          </a:xfrm>
        </p:grpSpPr>
        <p:cxnSp>
          <p:nvCxnSpPr>
            <p:cNvPr id="13" name="Straight Connector 12">
              <a:extLst>
                <a:ext uri="{FF2B5EF4-FFF2-40B4-BE49-F238E27FC236}">
                  <a16:creationId xmlns:a16="http://schemas.microsoft.com/office/drawing/2014/main" xmlns=""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71517643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isyDeck Master - 16">
    <p:bg>
      <p:bgPr>
        <a:solidFill>
          <a:schemeClr val="bg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3266471" cy="602506"/>
          </a:xfrm>
        </p:spPr>
        <p:txBody>
          <a:bodyPr lIns="180000" tIns="93600" rIns="180000" bIns="93600"/>
          <a:lstStyle>
            <a:lvl1pPr algn="l">
              <a:defRPr/>
            </a:lvl1pPr>
          </a:lstStyle>
          <a:p>
            <a:endParaRPr lang="en-GB" dirty="0"/>
          </a:p>
        </p:txBody>
      </p:sp>
      <p:grpSp>
        <p:nvGrpSpPr>
          <p:cNvPr id="4" name="Group 3">
            <a:extLst>
              <a:ext uri="{FF2B5EF4-FFF2-40B4-BE49-F238E27FC236}">
                <a16:creationId xmlns:a16="http://schemas.microsoft.com/office/drawing/2014/main" xmlns="" id="{BED5F437-52C3-4C24-A49A-3E116BF1B2C2}"/>
              </a:ext>
            </a:extLst>
          </p:cNvPr>
          <p:cNvGrpSpPr/>
          <p:nvPr userDrawn="1"/>
        </p:nvGrpSpPr>
        <p:grpSpPr>
          <a:xfrm>
            <a:off x="3786826" y="0"/>
            <a:ext cx="4925374" cy="6372225"/>
            <a:chOff x="10599387" y="0"/>
            <a:chExt cx="13786202" cy="13717588"/>
          </a:xfrm>
        </p:grpSpPr>
        <p:sp>
          <p:nvSpPr>
            <p:cNvPr id="13" name="Rectangle 12">
              <a:extLst>
                <a:ext uri="{FF2B5EF4-FFF2-40B4-BE49-F238E27FC236}">
                  <a16:creationId xmlns:a16="http://schemas.microsoft.com/office/drawing/2014/main" xmlns="" id="{D0E42A3B-A2C3-4CFD-AB85-ED16183AE5A5}"/>
                </a:ext>
              </a:extLst>
            </p:cNvPr>
            <p:cNvSpPr/>
            <p:nvPr userDrawn="1"/>
          </p:nvSpPr>
          <p:spPr>
            <a:xfrm>
              <a:off x="10614213" y="0"/>
              <a:ext cx="13771376"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14" name="Group 13">
              <a:extLst>
                <a:ext uri="{FF2B5EF4-FFF2-40B4-BE49-F238E27FC236}">
                  <a16:creationId xmlns:a16="http://schemas.microsoft.com/office/drawing/2014/main" xmlns="" id="{1CD666D0-CCE3-41F2-961A-18B469843C9D}"/>
                </a:ext>
              </a:extLst>
            </p:cNvPr>
            <p:cNvGrpSpPr>
              <a:grpSpLocks noChangeAspect="1"/>
            </p:cNvGrpSpPr>
            <p:nvPr userDrawn="1"/>
          </p:nvGrpSpPr>
          <p:grpSpPr>
            <a:xfrm rot="18900000">
              <a:off x="10599387" y="144238"/>
              <a:ext cx="471488" cy="153360"/>
              <a:chOff x="11661248" y="7789719"/>
              <a:chExt cx="1293156" cy="420621"/>
            </a:xfrm>
          </p:grpSpPr>
          <p:cxnSp>
            <p:nvCxnSpPr>
              <p:cNvPr id="15" name="Straight Connector 14">
                <a:extLst>
                  <a:ext uri="{FF2B5EF4-FFF2-40B4-BE49-F238E27FC236}">
                    <a16:creationId xmlns:a16="http://schemas.microsoft.com/office/drawing/2014/main" xmlns="" id="{F8D861F9-2E13-4C24-B831-25B16B63728E}"/>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D67539A7-9991-4926-B18A-561D16594FE8}"/>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6" name="Straight Connector 25">
                <a:extLst>
                  <a:ext uri="{FF2B5EF4-FFF2-40B4-BE49-F238E27FC236}">
                    <a16:creationId xmlns:a16="http://schemas.microsoft.com/office/drawing/2014/main" xmlns="" id="{A5632E03-8DDB-4F00-8A55-09D051A284AF}"/>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xmlns="" val="157471833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isyDeck Master - 17">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3386"/>
            <a:ext cx="3396304"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6" name="Picture 5" descr="A picture containing thing&#10;&#10;Description generated with high confidence">
            <a:extLst>
              <a:ext uri="{FF2B5EF4-FFF2-40B4-BE49-F238E27FC236}">
                <a16:creationId xmlns:a16="http://schemas.microsoft.com/office/drawing/2014/main" xmlns="" id="{7937098E-1F6F-4637-9A4C-1A73B35BA8C7}"/>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5400000">
            <a:off x="12101" y="3032861"/>
            <a:ext cx="6372225" cy="306503"/>
          </a:xfrm>
          <a:prstGeom prst="rect">
            <a:avLst/>
          </a:prstGeom>
        </p:spPr>
      </p:pic>
      <p:sp>
        <p:nvSpPr>
          <p:cNvPr id="2" name="Footer Placeholder 1">
            <a:extLst>
              <a:ext uri="{FF2B5EF4-FFF2-40B4-BE49-F238E27FC236}">
                <a16:creationId xmlns:a16="http://schemas.microsoft.com/office/drawing/2014/main" xmlns="" id="{1B489379-5A8C-49FF-BBD0-5C7AA2A1DA72}"/>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3" name="Slide Number Placeholder 2">
            <a:extLst>
              <a:ext uri="{FF2B5EF4-FFF2-40B4-BE49-F238E27FC236}">
                <a16:creationId xmlns:a16="http://schemas.microsoft.com/office/drawing/2014/main" xmlns="" id="{D0BFABFC-BDEE-4725-81D2-D01A22021C24}"/>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0" name="Group 39">
            <a:extLst>
              <a:ext uri="{FF2B5EF4-FFF2-40B4-BE49-F238E27FC236}">
                <a16:creationId xmlns:a16="http://schemas.microsoft.com/office/drawing/2014/main" xmlns="" id="{F32C0970-7114-484E-9C48-B0C4CFDFF7C5}"/>
              </a:ext>
            </a:extLst>
          </p:cNvPr>
          <p:cNvGrpSpPr/>
          <p:nvPr userDrawn="1"/>
        </p:nvGrpSpPr>
        <p:grpSpPr>
          <a:xfrm>
            <a:off x="155245" y="216759"/>
            <a:ext cx="437727" cy="569144"/>
            <a:chOff x="494744" y="523692"/>
            <a:chExt cx="1225205" cy="1225205"/>
          </a:xfrm>
        </p:grpSpPr>
        <p:grpSp>
          <p:nvGrpSpPr>
            <p:cNvPr id="41" name="Group 40">
              <a:extLst>
                <a:ext uri="{FF2B5EF4-FFF2-40B4-BE49-F238E27FC236}">
                  <a16:creationId xmlns:a16="http://schemas.microsoft.com/office/drawing/2014/main" xmlns="" id="{71399EAF-276A-4974-8568-D47CE3947609}"/>
                </a:ext>
              </a:extLst>
            </p:cNvPr>
            <p:cNvGrpSpPr>
              <a:grpSpLocks noChangeAspect="1"/>
            </p:cNvGrpSpPr>
            <p:nvPr userDrawn="1"/>
          </p:nvGrpSpPr>
          <p:grpSpPr>
            <a:xfrm rot="18900000">
              <a:off x="707305" y="869222"/>
              <a:ext cx="471488" cy="153360"/>
              <a:chOff x="11661248" y="7789719"/>
              <a:chExt cx="1293156" cy="420621"/>
            </a:xfrm>
          </p:grpSpPr>
          <p:cxnSp>
            <p:nvCxnSpPr>
              <p:cNvPr id="45" name="Straight Connector 44">
                <a:extLst>
                  <a:ext uri="{FF2B5EF4-FFF2-40B4-BE49-F238E27FC236}">
                    <a16:creationId xmlns:a16="http://schemas.microsoft.com/office/drawing/2014/main" xmlns="" id="{4460F1C0-D821-4F1D-BA26-DD76BE621AC5}"/>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6" name="Straight Connector 45">
                <a:extLst>
                  <a:ext uri="{FF2B5EF4-FFF2-40B4-BE49-F238E27FC236}">
                    <a16:creationId xmlns:a16="http://schemas.microsoft.com/office/drawing/2014/main" xmlns="" id="{F49E00E6-9AF2-4271-9599-8E4AB0D67421}"/>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xmlns="" id="{A02FA78B-F09E-44CF-A188-DF4B0F311433}"/>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2" name="Group 41">
              <a:extLst>
                <a:ext uri="{FF2B5EF4-FFF2-40B4-BE49-F238E27FC236}">
                  <a16:creationId xmlns:a16="http://schemas.microsoft.com/office/drawing/2014/main" xmlns="" id="{4A04EB8A-3017-4C1E-92E6-34045503AF00}"/>
                </a:ext>
              </a:extLst>
            </p:cNvPr>
            <p:cNvGrpSpPr/>
            <p:nvPr userDrawn="1"/>
          </p:nvGrpSpPr>
          <p:grpSpPr>
            <a:xfrm>
              <a:off x="494744" y="523692"/>
              <a:ext cx="1225205" cy="1225205"/>
              <a:chOff x="12636425" y="442230"/>
              <a:chExt cx="1860336" cy="1860336"/>
            </a:xfrm>
          </p:grpSpPr>
          <p:cxnSp>
            <p:nvCxnSpPr>
              <p:cNvPr id="43" name="Straight Connector 42">
                <a:extLst>
                  <a:ext uri="{FF2B5EF4-FFF2-40B4-BE49-F238E27FC236}">
                    <a16:creationId xmlns:a16="http://schemas.microsoft.com/office/drawing/2014/main" xmlns="" id="{72A22A2C-FDB5-4C37-8A60-5EA32F8EB3AF}"/>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a:extLst>
                  <a:ext uri="{FF2B5EF4-FFF2-40B4-BE49-F238E27FC236}">
                    <a16:creationId xmlns:a16="http://schemas.microsoft.com/office/drawing/2014/main" xmlns="" id="{F9992C35-A475-495F-9E6A-14207646F90F}"/>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8" name="Title 1">
            <a:extLst>
              <a:ext uri="{FF2B5EF4-FFF2-40B4-BE49-F238E27FC236}">
                <a16:creationId xmlns:a16="http://schemas.microsoft.com/office/drawing/2014/main" xmlns="" id="{61F6D264-A687-4BB2-B29E-835576901A84}"/>
              </a:ext>
            </a:extLst>
          </p:cNvPr>
          <p:cNvSpPr>
            <a:spLocks noGrp="1"/>
          </p:cNvSpPr>
          <p:nvPr>
            <p:ph type="title"/>
          </p:nvPr>
        </p:nvSpPr>
        <p:spPr>
          <a:xfrm>
            <a:off x="288518" y="376381"/>
            <a:ext cx="2756444" cy="602506"/>
          </a:xfrm>
        </p:spPr>
        <p:txBody>
          <a:bodyPr lIns="180000" tIns="93600" rIns="180000" bIns="93600"/>
          <a:lstStyle>
            <a:lvl1pPr algn="l">
              <a:defRPr>
                <a:solidFill>
                  <a:srgbClr val="FFFFFF"/>
                </a:solidFill>
              </a:defRPr>
            </a:lvl1pPr>
          </a:lstStyle>
          <a:p>
            <a:endParaRPr lang="en-GB" dirty="0"/>
          </a:p>
        </p:txBody>
      </p:sp>
    </p:spTree>
    <p:extLst>
      <p:ext uri="{BB962C8B-B14F-4D97-AF65-F5344CB8AC3E}">
        <p14:creationId xmlns:p14="http://schemas.microsoft.com/office/powerpoint/2010/main" xmlns="" val="314808657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isyDeck Master - 18">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2927769"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3" name="Rectangle 12"/>
          <p:cNvSpPr/>
          <p:nvPr userDrawn="1"/>
        </p:nvSpPr>
        <p:spPr>
          <a:xfrm>
            <a:off x="6782951"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xmlns="" id="{305D514E-FFBA-4C25-924C-A28A2A47F193}"/>
              </a:ext>
            </a:extLst>
          </p:cNvPr>
          <p:cNvGrpSpPr>
            <a:grpSpLocks noChangeAspect="1"/>
          </p:cNvGrpSpPr>
          <p:nvPr userDrawn="1"/>
        </p:nvGrpSpPr>
        <p:grpSpPr>
          <a:xfrm rot="18900000">
            <a:off x="2922472" y="67002"/>
            <a:ext cx="168448" cy="71240"/>
            <a:chOff x="11661248" y="7789719"/>
            <a:chExt cx="1293156" cy="420621"/>
          </a:xfrm>
        </p:grpSpPr>
        <p:cxnSp>
          <p:nvCxnSpPr>
            <p:cNvPr id="28" name="Straight Connector 27">
              <a:extLst>
                <a:ext uri="{FF2B5EF4-FFF2-40B4-BE49-F238E27FC236}">
                  <a16:creationId xmlns:a16="http://schemas.microsoft.com/office/drawing/2014/main" xmlns="" id="{D99A1865-AA06-4902-876D-7BB4651885A6}"/>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A6CFC5A4-7DD5-4A1E-A895-AB0C7BFC0DEE}"/>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5CBB7D3D-FEA7-4826-9525-5E20B13180A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1" name="Group 30">
            <a:extLst>
              <a:ext uri="{FF2B5EF4-FFF2-40B4-BE49-F238E27FC236}">
                <a16:creationId xmlns:a16="http://schemas.microsoft.com/office/drawing/2014/main" xmlns="" id="{115F3009-CD0A-4CA7-B959-9F17D5ABF932}"/>
              </a:ext>
            </a:extLst>
          </p:cNvPr>
          <p:cNvGrpSpPr>
            <a:grpSpLocks noChangeAspect="1"/>
          </p:cNvGrpSpPr>
          <p:nvPr userDrawn="1"/>
        </p:nvGrpSpPr>
        <p:grpSpPr>
          <a:xfrm rot="18900000">
            <a:off x="6777654" y="67002"/>
            <a:ext cx="168448" cy="71240"/>
            <a:chOff x="11661248" y="7789719"/>
            <a:chExt cx="1293156" cy="420621"/>
          </a:xfrm>
        </p:grpSpPr>
        <p:cxnSp>
          <p:nvCxnSpPr>
            <p:cNvPr id="32" name="Straight Connector 31">
              <a:extLst>
                <a:ext uri="{FF2B5EF4-FFF2-40B4-BE49-F238E27FC236}">
                  <a16:creationId xmlns:a16="http://schemas.microsoft.com/office/drawing/2014/main" xmlns="" id="{30EE65BD-B6CA-4397-875B-B98E35D1A288}"/>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6FE17009-3F20-4437-9691-C4A64D41F1CA}"/>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87F5C499-07FA-46EF-A129-2F80C72AC01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8" name="Group 37">
            <a:extLst>
              <a:ext uri="{FF2B5EF4-FFF2-40B4-BE49-F238E27FC236}">
                <a16:creationId xmlns:a16="http://schemas.microsoft.com/office/drawing/2014/main" xmlns="" id="{F312B588-9A83-4085-B457-C767FD1ABC36}"/>
              </a:ext>
            </a:extLst>
          </p:cNvPr>
          <p:cNvGrpSpPr>
            <a:grpSpLocks noChangeAspect="1"/>
          </p:cNvGrpSpPr>
          <p:nvPr userDrawn="1"/>
        </p:nvGrpSpPr>
        <p:grpSpPr>
          <a:xfrm rot="18900000">
            <a:off x="4850063" y="67002"/>
            <a:ext cx="168448" cy="71240"/>
            <a:chOff x="11661248" y="7789719"/>
            <a:chExt cx="1293156" cy="420621"/>
          </a:xfrm>
        </p:grpSpPr>
        <p:cxnSp>
          <p:nvCxnSpPr>
            <p:cNvPr id="39" name="Straight Connector 38">
              <a:extLst>
                <a:ext uri="{FF2B5EF4-FFF2-40B4-BE49-F238E27FC236}">
                  <a16:creationId xmlns:a16="http://schemas.microsoft.com/office/drawing/2014/main" xmlns="" id="{390E84B4-C7A3-4EF2-B468-87F314DF147C}"/>
                </a:ext>
              </a:extLst>
            </p:cNvPr>
            <p:cNvCxnSpPr>
              <a:cxnSpLocks/>
            </p:cNvCxnSpPr>
            <p:nvPr userDrawn="1"/>
          </p:nvCxnSpPr>
          <p:spPr>
            <a:xfrm>
              <a:off x="11661248" y="8210340"/>
              <a:ext cx="1293156"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EE4FC1A2-7756-46BF-B739-080DBA64F60A}"/>
                </a:ext>
              </a:extLst>
            </p:cNvPr>
            <p:cNvCxnSpPr>
              <a:cxnSpLocks/>
            </p:cNvCxnSpPr>
            <p:nvPr userDrawn="1"/>
          </p:nvCxnSpPr>
          <p:spPr>
            <a:xfrm>
              <a:off x="11868913" y="8000027"/>
              <a:ext cx="877825"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DB3CC3BE-B24E-4C3C-B4D2-B16844154015}"/>
                </a:ext>
              </a:extLst>
            </p:cNvPr>
            <p:cNvCxnSpPr>
              <a:cxnSpLocks/>
            </p:cNvCxnSpPr>
            <p:nvPr userDrawn="1"/>
          </p:nvCxnSpPr>
          <p:spPr>
            <a:xfrm>
              <a:off x="12088372" y="7789719"/>
              <a:ext cx="438913"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2" name="Title 1">
            <a:extLst>
              <a:ext uri="{FF2B5EF4-FFF2-40B4-BE49-F238E27FC236}">
                <a16:creationId xmlns:a16="http://schemas.microsoft.com/office/drawing/2014/main" xmlns="" id="{94069DC5-9212-40D2-8041-342DC63631E5}"/>
              </a:ext>
            </a:extLst>
          </p:cNvPr>
          <p:cNvSpPr>
            <a:spLocks noGrp="1"/>
          </p:cNvSpPr>
          <p:nvPr>
            <p:ph type="title"/>
          </p:nvPr>
        </p:nvSpPr>
        <p:spPr>
          <a:xfrm>
            <a:off x="288518" y="376381"/>
            <a:ext cx="2362532" cy="602506"/>
          </a:xfrm>
        </p:spPr>
        <p:txBody>
          <a:bodyPr lIns="180000" tIns="93600" rIns="180000" bIns="93600"/>
          <a:lstStyle>
            <a:lvl1pPr algn="l">
              <a:defRPr/>
            </a:lvl1pPr>
          </a:lstStyle>
          <a:p>
            <a:endParaRPr lang="en-GB" dirty="0"/>
          </a:p>
        </p:txBody>
      </p:sp>
      <p:grpSp>
        <p:nvGrpSpPr>
          <p:cNvPr id="43" name="Group 42">
            <a:extLst>
              <a:ext uri="{FF2B5EF4-FFF2-40B4-BE49-F238E27FC236}">
                <a16:creationId xmlns:a16="http://schemas.microsoft.com/office/drawing/2014/main" xmlns="" id="{E76A4D0E-9D4F-4F2D-B05A-F9D967911820}"/>
              </a:ext>
            </a:extLst>
          </p:cNvPr>
          <p:cNvGrpSpPr/>
          <p:nvPr userDrawn="1"/>
        </p:nvGrpSpPr>
        <p:grpSpPr>
          <a:xfrm>
            <a:off x="155245" y="216759"/>
            <a:ext cx="437727" cy="569144"/>
            <a:chOff x="434532" y="466621"/>
            <a:chExt cx="1225205" cy="1225205"/>
          </a:xfrm>
        </p:grpSpPr>
        <p:grpSp>
          <p:nvGrpSpPr>
            <p:cNvPr id="44" name="Group 43">
              <a:extLst>
                <a:ext uri="{FF2B5EF4-FFF2-40B4-BE49-F238E27FC236}">
                  <a16:creationId xmlns:a16="http://schemas.microsoft.com/office/drawing/2014/main" xmlns="" id="{F063AB19-BA19-453F-B93C-A641BD1914B3}"/>
                </a:ext>
              </a:extLst>
            </p:cNvPr>
            <p:cNvGrpSpPr>
              <a:grpSpLocks noChangeAspect="1"/>
            </p:cNvGrpSpPr>
            <p:nvPr userDrawn="1"/>
          </p:nvGrpSpPr>
          <p:grpSpPr>
            <a:xfrm rot="18900000">
              <a:off x="647093" y="812151"/>
              <a:ext cx="471488" cy="153360"/>
              <a:chOff x="11661248" y="7789719"/>
              <a:chExt cx="1293156" cy="420621"/>
            </a:xfrm>
          </p:grpSpPr>
          <p:cxnSp>
            <p:nvCxnSpPr>
              <p:cNvPr id="48" name="Straight Connector 47">
                <a:extLst>
                  <a:ext uri="{FF2B5EF4-FFF2-40B4-BE49-F238E27FC236}">
                    <a16:creationId xmlns:a16="http://schemas.microsoft.com/office/drawing/2014/main" xmlns="" id="{FD6DE055-F29C-40D2-AC31-19B463C933CA}"/>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9" name="Straight Connector 48">
                <a:extLst>
                  <a:ext uri="{FF2B5EF4-FFF2-40B4-BE49-F238E27FC236}">
                    <a16:creationId xmlns:a16="http://schemas.microsoft.com/office/drawing/2014/main" xmlns="" id="{F50836A0-4B3C-4B04-B945-18C7D303886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8BBD77C5-4C22-4C92-804E-EF2BBDF329D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5" name="Group 44">
              <a:extLst>
                <a:ext uri="{FF2B5EF4-FFF2-40B4-BE49-F238E27FC236}">
                  <a16:creationId xmlns:a16="http://schemas.microsoft.com/office/drawing/2014/main" xmlns="" id="{BD5B49FD-0AE3-42F0-82CE-EAC757CB8486}"/>
                </a:ext>
              </a:extLst>
            </p:cNvPr>
            <p:cNvGrpSpPr/>
            <p:nvPr userDrawn="1"/>
          </p:nvGrpSpPr>
          <p:grpSpPr>
            <a:xfrm>
              <a:off x="434532" y="466621"/>
              <a:ext cx="1225205" cy="1225205"/>
              <a:chOff x="12636425" y="442230"/>
              <a:chExt cx="1860336" cy="1860336"/>
            </a:xfrm>
          </p:grpSpPr>
          <p:cxnSp>
            <p:nvCxnSpPr>
              <p:cNvPr id="46" name="Straight Connector 45">
                <a:extLst>
                  <a:ext uri="{FF2B5EF4-FFF2-40B4-BE49-F238E27FC236}">
                    <a16:creationId xmlns:a16="http://schemas.microsoft.com/office/drawing/2014/main" xmlns="" id="{24D87CC7-4133-4192-A805-4DFDBEFBC4B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xmlns="" id="{00039D04-6148-458B-9343-29CC0428F7E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xmlns="" id="{D5C8C7BF-A302-45C1-8E97-05E6AB9E3BB9}"/>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C2AA87E2-DEE7-42B9-961B-D3F992D595B8}"/>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2581941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199" y="1588013"/>
            <a:ext cx="7514574" cy="2651492"/>
          </a:xfrm>
        </p:spPr>
        <p:txBody>
          <a:bodyPr anchor="b"/>
          <a:lstStyle>
            <a:lvl1pPr>
              <a:defRPr sz="4191"/>
            </a:lvl1pPr>
          </a:lstStyle>
          <a:p>
            <a:r>
              <a:rPr lang="en-US"/>
              <a:t>Click to edit Master title style</a:t>
            </a:r>
            <a:endParaRPr lang="en-ZA"/>
          </a:p>
        </p:txBody>
      </p:sp>
      <p:sp>
        <p:nvSpPr>
          <p:cNvPr id="3" name="Text Placeholder 2"/>
          <p:cNvSpPr>
            <a:spLocks noGrp="1"/>
          </p:cNvSpPr>
          <p:nvPr>
            <p:ph type="body" idx="1"/>
          </p:nvPr>
        </p:nvSpPr>
        <p:spPr>
          <a:xfrm>
            <a:off x="594199" y="4264005"/>
            <a:ext cx="7514574" cy="1394914"/>
          </a:xfrm>
        </p:spPr>
        <p:txBody>
          <a:bodyPr/>
          <a:lstStyle>
            <a:lvl1pPr marL="0" indent="0">
              <a:buNone/>
              <a:defRPr sz="1677">
                <a:solidFill>
                  <a:schemeClr val="tx1">
                    <a:tint val="75000"/>
                  </a:schemeClr>
                </a:solidFill>
              </a:defRPr>
            </a:lvl1pPr>
            <a:lvl2pPr marL="319323" indent="0">
              <a:buNone/>
              <a:defRPr sz="1397">
                <a:solidFill>
                  <a:schemeClr val="tx1">
                    <a:tint val="75000"/>
                  </a:schemeClr>
                </a:solidFill>
              </a:defRPr>
            </a:lvl2pPr>
            <a:lvl3pPr marL="638646" indent="0">
              <a:buNone/>
              <a:defRPr sz="1257">
                <a:solidFill>
                  <a:schemeClr val="tx1">
                    <a:tint val="75000"/>
                  </a:schemeClr>
                </a:solidFill>
              </a:defRPr>
            </a:lvl3pPr>
            <a:lvl4pPr marL="957968" indent="0">
              <a:buNone/>
              <a:defRPr sz="1117">
                <a:solidFill>
                  <a:schemeClr val="tx1">
                    <a:tint val="75000"/>
                  </a:schemeClr>
                </a:solidFill>
              </a:defRPr>
            </a:lvl4pPr>
            <a:lvl5pPr marL="1277292" indent="0">
              <a:buNone/>
              <a:defRPr sz="1117">
                <a:solidFill>
                  <a:schemeClr val="tx1">
                    <a:tint val="75000"/>
                  </a:schemeClr>
                </a:solidFill>
              </a:defRPr>
            </a:lvl5pPr>
            <a:lvl6pPr marL="1596614" indent="0">
              <a:buNone/>
              <a:defRPr sz="1117">
                <a:solidFill>
                  <a:schemeClr val="tx1">
                    <a:tint val="75000"/>
                  </a:schemeClr>
                </a:solidFill>
              </a:defRPr>
            </a:lvl6pPr>
            <a:lvl7pPr marL="1915938" indent="0">
              <a:buNone/>
              <a:defRPr sz="1117">
                <a:solidFill>
                  <a:schemeClr val="tx1">
                    <a:tint val="75000"/>
                  </a:schemeClr>
                </a:solidFill>
              </a:defRPr>
            </a:lvl7pPr>
            <a:lvl8pPr marL="2235260" indent="0">
              <a:buNone/>
              <a:defRPr sz="1117">
                <a:solidFill>
                  <a:schemeClr val="tx1">
                    <a:tint val="75000"/>
                  </a:schemeClr>
                </a:solidFill>
              </a:defRPr>
            </a:lvl8pPr>
            <a:lvl9pPr marL="2554583" indent="0">
              <a:buNone/>
              <a:defRPr sz="111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41750553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isyDeck Master - 19">
    <p:bg>
      <p:bgPr>
        <a:solidFill>
          <a:schemeClr val="bg1"/>
        </a:solidFill>
        <a:effectLst/>
      </p:bgPr>
    </p:bg>
    <p:spTree>
      <p:nvGrpSpPr>
        <p:cNvPr id="1" name=""/>
        <p:cNvGrpSpPr/>
        <p:nvPr/>
      </p:nvGrpSpPr>
      <p:grpSpPr>
        <a:xfrm>
          <a:off x="0" y="0"/>
          <a:ext cx="0" cy="0"/>
          <a:chOff x="0" y="0"/>
          <a:chExt cx="0" cy="0"/>
        </a:xfrm>
      </p:grpSpPr>
      <p:sp>
        <p:nvSpPr>
          <p:cNvPr id="28" name="Freeform 5">
            <a:extLst>
              <a:ext uri="{FF2B5EF4-FFF2-40B4-BE49-F238E27FC236}">
                <a16:creationId xmlns:a16="http://schemas.microsoft.com/office/drawing/2014/main" xmlns="" id="{B7C11C49-CBBA-465C-9DDF-2FC31A282B57}"/>
              </a:ext>
            </a:extLst>
          </p:cNvPr>
          <p:cNvSpPr>
            <a:spLocks/>
          </p:cNvSpPr>
          <p:nvPr userDrawn="1"/>
        </p:nvSpPr>
        <p:spPr bwMode="auto">
          <a:xfrm>
            <a:off x="6641666" y="2556923"/>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tx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
        <p:nvSpPr>
          <p:cNvPr id="29" name="Freeform 5">
            <a:extLst>
              <a:ext uri="{FF2B5EF4-FFF2-40B4-BE49-F238E27FC236}">
                <a16:creationId xmlns:a16="http://schemas.microsoft.com/office/drawing/2014/main" xmlns="" id="{94F44F4B-1955-473C-A717-03E5C1B5CA6B}"/>
              </a:ext>
            </a:extLst>
          </p:cNvPr>
          <p:cNvSpPr>
            <a:spLocks/>
          </p:cNvSpPr>
          <p:nvPr userDrawn="1"/>
        </p:nvSpPr>
        <p:spPr bwMode="auto">
          <a:xfrm rot="10800000">
            <a:off x="6641666" y="1"/>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accent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grpSp>
        <p:nvGrpSpPr>
          <p:cNvPr id="14" name="Group 13">
            <a:extLst>
              <a:ext uri="{FF2B5EF4-FFF2-40B4-BE49-F238E27FC236}">
                <a16:creationId xmlns:a16="http://schemas.microsoft.com/office/drawing/2014/main" xmlns="" id="{C436134D-B405-41B0-809A-4917C5086BCC}"/>
              </a:ext>
            </a:extLst>
          </p:cNvPr>
          <p:cNvGrpSpPr>
            <a:grpSpLocks noChangeAspect="1"/>
          </p:cNvGrpSpPr>
          <p:nvPr userDrawn="1"/>
        </p:nvGrpSpPr>
        <p:grpSpPr>
          <a:xfrm rot="8100000" flipH="1" flipV="1">
            <a:off x="6636944" y="67003"/>
            <a:ext cx="168448" cy="71240"/>
            <a:chOff x="11661248" y="7789719"/>
            <a:chExt cx="1293156" cy="420621"/>
          </a:xfrm>
        </p:grpSpPr>
        <p:cxnSp>
          <p:nvCxnSpPr>
            <p:cNvPr id="15" name="Straight Connector 14">
              <a:extLst>
                <a:ext uri="{FF2B5EF4-FFF2-40B4-BE49-F238E27FC236}">
                  <a16:creationId xmlns:a16="http://schemas.microsoft.com/office/drawing/2014/main" xmlns="" id="{7A966E8A-2A66-4215-BEB0-FA7D8FE7FD4C}"/>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EB68736A-E3E2-43A3-94EA-C12A7FD6352F}"/>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EBA999D3-B5FA-4319-ACD4-968098632FB1}"/>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3" name="Picture Placeholder 7">
            <a:extLst>
              <a:ext uri="{FF2B5EF4-FFF2-40B4-BE49-F238E27FC236}">
                <a16:creationId xmlns:a16="http://schemas.microsoft.com/office/drawing/2014/main" xmlns="" id="{A670E221-FAEB-46C4-88EC-5EBAF8ACD7E8}"/>
              </a:ext>
            </a:extLst>
          </p:cNvPr>
          <p:cNvSpPr>
            <a:spLocks noGrp="1"/>
          </p:cNvSpPr>
          <p:nvPr userDrawn="1">
            <p:ph type="pic" sz="quarter" idx="15"/>
          </p:nvPr>
        </p:nvSpPr>
        <p:spPr>
          <a:xfrm>
            <a:off x="3247949" y="0"/>
            <a:ext cx="3393716"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19" name="Group 18">
            <a:extLst>
              <a:ext uri="{FF2B5EF4-FFF2-40B4-BE49-F238E27FC236}">
                <a16:creationId xmlns:a16="http://schemas.microsoft.com/office/drawing/2014/main" xmlns="" id="{7666BBB1-54F2-4D97-B844-243260E22488}"/>
              </a:ext>
            </a:extLst>
          </p:cNvPr>
          <p:cNvGrpSpPr>
            <a:grpSpLocks noChangeAspect="1"/>
          </p:cNvGrpSpPr>
          <p:nvPr userDrawn="1"/>
        </p:nvGrpSpPr>
        <p:grpSpPr>
          <a:xfrm rot="8100000">
            <a:off x="8550158" y="6233982"/>
            <a:ext cx="168448" cy="71240"/>
            <a:chOff x="11661248" y="7789719"/>
            <a:chExt cx="1293156" cy="420621"/>
          </a:xfrm>
        </p:grpSpPr>
        <p:cxnSp>
          <p:nvCxnSpPr>
            <p:cNvPr id="20" name="Straight Connector 19">
              <a:extLst>
                <a:ext uri="{FF2B5EF4-FFF2-40B4-BE49-F238E27FC236}">
                  <a16:creationId xmlns:a16="http://schemas.microsoft.com/office/drawing/2014/main" xmlns="" id="{598CC776-855C-4F6F-9B95-9BF8EF631695}"/>
                </a:ext>
              </a:extLst>
            </p:cNvPr>
            <p:cNvCxnSpPr>
              <a:cxnSpLocks/>
            </p:cNvCxnSpPr>
            <p:nvPr userDrawn="1"/>
          </p:nvCxnSpPr>
          <p:spPr>
            <a:xfrm>
              <a:off x="11661248" y="8210340"/>
              <a:ext cx="1293156"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22E794FA-4640-4352-8278-C3629912AF03}"/>
                </a:ext>
              </a:extLst>
            </p:cNvPr>
            <p:cNvCxnSpPr>
              <a:cxnSpLocks/>
            </p:cNvCxnSpPr>
            <p:nvPr userDrawn="1"/>
          </p:nvCxnSpPr>
          <p:spPr>
            <a:xfrm>
              <a:off x="11868913" y="8000027"/>
              <a:ext cx="877825"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360C130F-8363-4374-9A3C-0A24997ACFE4}"/>
                </a:ext>
              </a:extLst>
            </p:cNvPr>
            <p:cNvCxnSpPr>
              <a:cxnSpLocks/>
            </p:cNvCxnSpPr>
            <p:nvPr userDrawn="1"/>
          </p:nvCxnSpPr>
          <p:spPr>
            <a:xfrm>
              <a:off x="12088372" y="7789719"/>
              <a:ext cx="438913"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4" name="Group 23">
            <a:extLst>
              <a:ext uri="{FF2B5EF4-FFF2-40B4-BE49-F238E27FC236}">
                <a16:creationId xmlns:a16="http://schemas.microsoft.com/office/drawing/2014/main" xmlns="" id="{DF61ADE3-D02D-471B-93E1-5F952DEEB53B}"/>
              </a:ext>
            </a:extLst>
          </p:cNvPr>
          <p:cNvGrpSpPr/>
          <p:nvPr userDrawn="1"/>
        </p:nvGrpSpPr>
        <p:grpSpPr>
          <a:xfrm>
            <a:off x="155245" y="216759"/>
            <a:ext cx="437727" cy="569144"/>
            <a:chOff x="494744" y="523692"/>
            <a:chExt cx="1225205" cy="1225205"/>
          </a:xfrm>
        </p:grpSpPr>
        <p:grpSp>
          <p:nvGrpSpPr>
            <p:cNvPr id="25" name="Group 24">
              <a:extLst>
                <a:ext uri="{FF2B5EF4-FFF2-40B4-BE49-F238E27FC236}">
                  <a16:creationId xmlns:a16="http://schemas.microsoft.com/office/drawing/2014/main" xmlns="" id="{D786128B-624F-466A-88D9-642B46C3473E}"/>
                </a:ext>
              </a:extLst>
            </p:cNvPr>
            <p:cNvGrpSpPr>
              <a:grpSpLocks noChangeAspect="1"/>
            </p:cNvGrpSpPr>
            <p:nvPr userDrawn="1"/>
          </p:nvGrpSpPr>
          <p:grpSpPr>
            <a:xfrm rot="18900000">
              <a:off x="707305" y="869222"/>
              <a:ext cx="471488" cy="153360"/>
              <a:chOff x="11661248" y="7789719"/>
              <a:chExt cx="1293156" cy="420621"/>
            </a:xfrm>
          </p:grpSpPr>
          <p:cxnSp>
            <p:nvCxnSpPr>
              <p:cNvPr id="32" name="Straight Connector 31">
                <a:extLst>
                  <a:ext uri="{FF2B5EF4-FFF2-40B4-BE49-F238E27FC236}">
                    <a16:creationId xmlns:a16="http://schemas.microsoft.com/office/drawing/2014/main" xmlns="" id="{1914165D-833C-42AF-8DB2-92D9893EA90D}"/>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558E5487-F34C-4850-94D0-EEBF1A28B84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FBDF9E21-B978-4B28-AA50-5C827577CA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9C611E66-B19C-4C4B-913B-A3346272BED6}"/>
                </a:ext>
              </a:extLst>
            </p:cNvPr>
            <p:cNvGrpSpPr/>
            <p:nvPr userDrawn="1"/>
          </p:nvGrpSpPr>
          <p:grpSpPr>
            <a:xfrm>
              <a:off x="494744" y="523692"/>
              <a:ext cx="1225205" cy="1225205"/>
              <a:chOff x="12636425" y="442230"/>
              <a:chExt cx="1860336" cy="1860336"/>
            </a:xfrm>
          </p:grpSpPr>
          <p:cxnSp>
            <p:nvCxnSpPr>
              <p:cNvPr id="30" name="Straight Connector 29">
                <a:extLst>
                  <a:ext uri="{FF2B5EF4-FFF2-40B4-BE49-F238E27FC236}">
                    <a16:creationId xmlns:a16="http://schemas.microsoft.com/office/drawing/2014/main" xmlns="" id="{8D4DE8B5-0848-4CC5-8143-A69F4732374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9ED1082E-80EB-4890-8CA5-E69C7DE49F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5" name="Title 1">
            <a:extLst>
              <a:ext uri="{FF2B5EF4-FFF2-40B4-BE49-F238E27FC236}">
                <a16:creationId xmlns:a16="http://schemas.microsoft.com/office/drawing/2014/main" xmlns="" id="{5DEF966D-296E-4384-B2D3-ABCFC9F4456D}"/>
              </a:ext>
            </a:extLst>
          </p:cNvPr>
          <p:cNvSpPr>
            <a:spLocks noGrp="1"/>
          </p:cNvSpPr>
          <p:nvPr>
            <p:ph type="title"/>
          </p:nvPr>
        </p:nvSpPr>
        <p:spPr>
          <a:xfrm>
            <a:off x="288517" y="376381"/>
            <a:ext cx="272229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33D3679E-0619-40DF-BD44-EEDD793324DE}"/>
              </a:ext>
            </a:extLst>
          </p:cNvPr>
          <p:cNvSpPr>
            <a:spLocks noGrp="1"/>
          </p:cNvSpPr>
          <p:nvPr>
            <p:ph type="ftr" sz="quarter" idx="16"/>
          </p:nvPr>
        </p:nvSpPr>
        <p:spPr>
          <a:xfrm>
            <a:off x="288518" y="5960817"/>
            <a:ext cx="7576473" cy="234123"/>
          </a:xfrm>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DF93FB08-BC3C-4C37-84D8-3788AF77FD89}"/>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5408504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isyDeck Master - 20">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7" y="376381"/>
            <a:ext cx="3209513"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13" name="Rectangle 12">
            <a:extLst>
              <a:ext uri="{FF2B5EF4-FFF2-40B4-BE49-F238E27FC236}">
                <a16:creationId xmlns:a16="http://schemas.microsoft.com/office/drawing/2014/main" xmlns="" id="{1F6D2933-DC14-4952-816C-43A766D465E8}"/>
              </a:ext>
            </a:extLst>
          </p:cNvPr>
          <p:cNvSpPr/>
          <p:nvPr userDrawn="1"/>
        </p:nvSpPr>
        <p:spPr>
          <a:xfrm>
            <a:off x="5752240" y="0"/>
            <a:ext cx="2959960"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descr="A screen shot of a computer&#10;&#10;Description generated with very high confidence">
            <a:extLst>
              <a:ext uri="{FF2B5EF4-FFF2-40B4-BE49-F238E27FC236}">
                <a16:creationId xmlns:a16="http://schemas.microsoft.com/office/drawing/2014/main" xmlns="" id="{3B836990-770C-4E23-96A7-C0056D225ABE}"/>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3498031" y="577684"/>
            <a:ext cx="4936071" cy="5690510"/>
          </a:xfrm>
          <a:prstGeom prst="rect">
            <a:avLst/>
          </a:prstGeom>
        </p:spPr>
      </p:pic>
      <p:sp>
        <p:nvSpPr>
          <p:cNvPr id="19" name="Picture Placeholder 18">
            <a:extLst>
              <a:ext uri="{FF2B5EF4-FFF2-40B4-BE49-F238E27FC236}">
                <a16:creationId xmlns:a16="http://schemas.microsoft.com/office/drawing/2014/main" xmlns="" id="{B74B46F8-B5ED-494E-A2FD-66CED9BECB1B}"/>
              </a:ext>
            </a:extLst>
          </p:cNvPr>
          <p:cNvSpPr>
            <a:spLocks noGrp="1"/>
          </p:cNvSpPr>
          <p:nvPr>
            <p:ph type="pic" sz="quarter" idx="12"/>
          </p:nvPr>
        </p:nvSpPr>
        <p:spPr>
          <a:xfrm>
            <a:off x="3809131" y="956693"/>
            <a:ext cx="4317777" cy="3380285"/>
          </a:xfrm>
          <a:custGeom>
            <a:avLst/>
            <a:gdLst>
              <a:gd name="connsiteX0" fmla="*/ 0 w 12085526"/>
              <a:gd name="connsiteY0" fmla="*/ 0 h 7276792"/>
              <a:gd name="connsiteX1" fmla="*/ 12085526 w 12085526"/>
              <a:gd name="connsiteY1" fmla="*/ 0 h 7276792"/>
              <a:gd name="connsiteX2" fmla="*/ 12085526 w 12085526"/>
              <a:gd name="connsiteY2" fmla="*/ 7276792 h 7276792"/>
              <a:gd name="connsiteX3" fmla="*/ 0 w 12085526"/>
              <a:gd name="connsiteY3" fmla="*/ 7276792 h 7276792"/>
            </a:gdLst>
            <a:ahLst/>
            <a:cxnLst>
              <a:cxn ang="0">
                <a:pos x="connsiteX0" y="connsiteY0"/>
              </a:cxn>
              <a:cxn ang="0">
                <a:pos x="connsiteX1" y="connsiteY1"/>
              </a:cxn>
              <a:cxn ang="0">
                <a:pos x="connsiteX2" y="connsiteY2"/>
              </a:cxn>
              <a:cxn ang="0">
                <a:pos x="connsiteX3" y="connsiteY3"/>
              </a:cxn>
            </a:cxnLst>
            <a:rect l="l" t="t" r="r" b="b"/>
            <a:pathLst>
              <a:path w="12085526" h="7276792">
                <a:moveTo>
                  <a:pt x="0" y="0"/>
                </a:moveTo>
                <a:lnTo>
                  <a:pt x="12085526" y="0"/>
                </a:lnTo>
                <a:lnTo>
                  <a:pt x="12085526" y="7276792"/>
                </a:lnTo>
                <a:lnTo>
                  <a:pt x="0" y="7276792"/>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E5724678-BFEF-4AD4-B666-A18EAAE92315}"/>
              </a:ext>
            </a:extLst>
          </p:cNvPr>
          <p:cNvGrpSpPr>
            <a:grpSpLocks noChangeAspect="1"/>
          </p:cNvGrpSpPr>
          <p:nvPr userDrawn="1"/>
        </p:nvGrpSpPr>
        <p:grpSpPr>
          <a:xfrm rot="13500000" flipV="1">
            <a:off x="8523763" y="75227"/>
            <a:ext cx="219020" cy="54791"/>
            <a:chOff x="11661248" y="7789719"/>
            <a:chExt cx="1293156" cy="420621"/>
          </a:xfrm>
        </p:grpSpPr>
        <p:cxnSp>
          <p:nvCxnSpPr>
            <p:cNvPr id="17" name="Straight Connector 16">
              <a:extLst>
                <a:ext uri="{FF2B5EF4-FFF2-40B4-BE49-F238E27FC236}">
                  <a16:creationId xmlns:a16="http://schemas.microsoft.com/office/drawing/2014/main" xmlns="" id="{95AA25C4-7E45-4A9F-BD6B-F9F7E36E8019}"/>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228CEE53-97D3-4287-836C-79C2ABA4174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2BC3EF56-4FB3-4286-B1F6-BE174E83941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xmlns="" val="1134629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isyDeck Master - 2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DF5B2BE8-9D26-422F-BA4D-E56356F484C7}"/>
              </a:ext>
            </a:extLst>
          </p:cNvPr>
          <p:cNvSpPr/>
          <p:nvPr userDrawn="1"/>
        </p:nvSpPr>
        <p:spPr>
          <a:xfrm>
            <a:off x="0" y="0"/>
            <a:ext cx="8712200" cy="35563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1" name="Picture 10" descr="A flat screen television&#10;&#10;Description generated with very high confidence">
            <a:extLst>
              <a:ext uri="{FF2B5EF4-FFF2-40B4-BE49-F238E27FC236}">
                <a16:creationId xmlns:a16="http://schemas.microsoft.com/office/drawing/2014/main" xmlns="" id="{C1090F08-E877-4B84-837A-2D95746CB59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288517" y="277958"/>
            <a:ext cx="5005994" cy="3907266"/>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1" name="Picture Placeholder 9">
            <a:extLst>
              <a:ext uri="{FF2B5EF4-FFF2-40B4-BE49-F238E27FC236}">
                <a16:creationId xmlns:a16="http://schemas.microsoft.com/office/drawing/2014/main" xmlns="" id="{4F8A7AC7-C57B-4BFC-9BC7-9F247DF0D2BF}"/>
              </a:ext>
            </a:extLst>
          </p:cNvPr>
          <p:cNvSpPr>
            <a:spLocks noGrp="1"/>
          </p:cNvSpPr>
          <p:nvPr>
            <p:ph type="pic" sz="quarter" idx="13"/>
          </p:nvPr>
        </p:nvSpPr>
        <p:spPr>
          <a:xfrm>
            <a:off x="902701" y="522039"/>
            <a:ext cx="3748378" cy="3100492"/>
          </a:xfrm>
          <a:prstGeom prst="roundRect">
            <a:avLst>
              <a:gd name="adj" fmla="val 1532"/>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7" name="Group 6">
            <a:extLst>
              <a:ext uri="{FF2B5EF4-FFF2-40B4-BE49-F238E27FC236}">
                <a16:creationId xmlns:a16="http://schemas.microsoft.com/office/drawing/2014/main" xmlns="" id="{5C4593AC-80C4-4715-93DB-EA5C97B74800}"/>
              </a:ext>
            </a:extLst>
          </p:cNvPr>
          <p:cNvGrpSpPr>
            <a:grpSpLocks noChangeAspect="1"/>
          </p:cNvGrpSpPr>
          <p:nvPr userDrawn="1"/>
        </p:nvGrpSpPr>
        <p:grpSpPr>
          <a:xfrm rot="8100000" flipH="1" flipV="1">
            <a:off x="-5297" y="67003"/>
            <a:ext cx="168448" cy="71240"/>
            <a:chOff x="11661248" y="7789719"/>
            <a:chExt cx="1293156" cy="420621"/>
          </a:xfrm>
        </p:grpSpPr>
        <p:cxnSp>
          <p:nvCxnSpPr>
            <p:cNvPr id="8" name="Straight Connector 7">
              <a:extLst>
                <a:ext uri="{FF2B5EF4-FFF2-40B4-BE49-F238E27FC236}">
                  <a16:creationId xmlns:a16="http://schemas.microsoft.com/office/drawing/2014/main" xmlns="" id="{40284FFC-6D3B-4F5F-9B37-7F85539F296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 name="Straight Connector 8">
              <a:extLst>
                <a:ext uri="{FF2B5EF4-FFF2-40B4-BE49-F238E27FC236}">
                  <a16:creationId xmlns:a16="http://schemas.microsoft.com/office/drawing/2014/main" xmlns="" id="{0C6DE286-0B93-4B07-888C-F07BD0079DF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CE96DDBB-721B-4994-B49D-153F1D953FBC}"/>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2" name="Title 1">
            <a:extLst>
              <a:ext uri="{FF2B5EF4-FFF2-40B4-BE49-F238E27FC236}">
                <a16:creationId xmlns:a16="http://schemas.microsoft.com/office/drawing/2014/main" xmlns="" id="{272BD32D-D3BB-4A66-8219-33BBFD4A56BF}"/>
              </a:ext>
            </a:extLst>
          </p:cNvPr>
          <p:cNvSpPr>
            <a:spLocks noGrp="1"/>
          </p:cNvSpPr>
          <p:nvPr>
            <p:ph type="ctrTitle" hasCustomPrompt="1"/>
          </p:nvPr>
        </p:nvSpPr>
        <p:spPr>
          <a:xfrm>
            <a:off x="5179671" y="946977"/>
            <a:ext cx="3211986" cy="980912"/>
          </a:xfrm>
          <a:prstGeom prst="rect">
            <a:avLst/>
          </a:prstGeom>
        </p:spPr>
        <p:txBody>
          <a:bodyPr vert="horz" wrap="square" lIns="180000" tIns="93600" rIns="180000" bIns="93600" rtlCol="0" anchor="t" anchorCtr="0">
            <a:spAutoFit/>
          </a:bodyPr>
          <a:lstStyle>
            <a:lvl1pPr algn="l">
              <a:defRPr lang="en-GB" dirty="0">
                <a:solidFill>
                  <a:srgbClr val="FFFFFF"/>
                </a:solidFill>
              </a:defRPr>
            </a:lvl1pPr>
          </a:lstStyle>
          <a:p>
            <a:pPr lvl="0" algn="l" defTabSz="649343">
              <a:lnSpc>
                <a:spcPct val="100000"/>
              </a:lnSpc>
            </a:pPr>
            <a:r>
              <a:rPr lang="en-US" dirty="0"/>
              <a:t>Click to ADD slide title</a:t>
            </a:r>
            <a:endParaRPr lang="en-GB" dirty="0"/>
          </a:p>
        </p:txBody>
      </p:sp>
      <p:grpSp>
        <p:nvGrpSpPr>
          <p:cNvPr id="13" name="Group 12">
            <a:extLst>
              <a:ext uri="{FF2B5EF4-FFF2-40B4-BE49-F238E27FC236}">
                <a16:creationId xmlns:a16="http://schemas.microsoft.com/office/drawing/2014/main" xmlns="" id="{EC869E04-F095-413C-8C8F-79380DC66DE2}"/>
              </a:ext>
            </a:extLst>
          </p:cNvPr>
          <p:cNvGrpSpPr/>
          <p:nvPr userDrawn="1"/>
        </p:nvGrpSpPr>
        <p:grpSpPr>
          <a:xfrm>
            <a:off x="5046399" y="787355"/>
            <a:ext cx="437727" cy="569144"/>
            <a:chOff x="494744" y="523692"/>
            <a:chExt cx="1225205" cy="1225205"/>
          </a:xfrm>
        </p:grpSpPr>
        <p:grpSp>
          <p:nvGrpSpPr>
            <p:cNvPr id="14" name="Group 13">
              <a:extLst>
                <a:ext uri="{FF2B5EF4-FFF2-40B4-BE49-F238E27FC236}">
                  <a16:creationId xmlns:a16="http://schemas.microsoft.com/office/drawing/2014/main" xmlns="" id="{38DCCC9E-7799-43CD-A70F-FE349F9DC790}"/>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0F429F68-93A2-4C1C-AD0A-309550034581}"/>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9D63AE99-D8B5-4666-8DAE-E6EEF8E32B74}"/>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A59FF6-6685-4D8E-B7B0-C1E37E257A29}"/>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64FA6AE9-2340-4337-8DFE-8E9DFE92771C}"/>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2479D499-269A-4B9E-B3F7-FCA1E4B41116}"/>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15289F73-FED7-4057-94E0-8368D84C75DD}"/>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39515797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isyDeck Master - 2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xmlns=""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xmlns=""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xmlns=""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xmlns=""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1" name="Picture 10">
            <a:extLst>
              <a:ext uri="{FF2B5EF4-FFF2-40B4-BE49-F238E27FC236}">
                <a16:creationId xmlns:a16="http://schemas.microsoft.com/office/drawing/2014/main" xmlns="" id="{9601AC7B-A752-4B88-8C12-E7F5F1839D41}"/>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53530" y="1290667"/>
            <a:ext cx="5916242" cy="5081558"/>
          </a:xfrm>
          <a:prstGeom prst="rect">
            <a:avLst/>
          </a:prstGeom>
        </p:spPr>
      </p:pic>
      <p:sp>
        <p:nvSpPr>
          <p:cNvPr id="12" name="Picture Placeholder 11">
            <a:extLst>
              <a:ext uri="{FF2B5EF4-FFF2-40B4-BE49-F238E27FC236}">
                <a16:creationId xmlns:a16="http://schemas.microsoft.com/office/drawing/2014/main" xmlns="" id="{10BD332D-A5AE-4226-BD29-F0B09F28357D}"/>
              </a:ext>
            </a:extLst>
          </p:cNvPr>
          <p:cNvSpPr>
            <a:spLocks noGrp="1"/>
          </p:cNvSpPr>
          <p:nvPr>
            <p:ph type="pic" sz="quarter" idx="10"/>
          </p:nvPr>
        </p:nvSpPr>
        <p:spPr>
          <a:xfrm>
            <a:off x="920614" y="1428124"/>
            <a:ext cx="2992446" cy="2968398"/>
          </a:xfrm>
          <a:pattFill prst="pct25">
            <a:fgClr>
              <a:schemeClr val="tx1"/>
            </a:fgClr>
            <a:bgClr>
              <a:schemeClr val="bg1"/>
            </a:bgClr>
          </a:pattFill>
        </p:spPr>
        <p:txBody>
          <a:bodyPr vert="horz" lIns="180000" tIns="93600" rIns="180000" bIns="93600" rtlCol="0">
            <a:normAutofit/>
          </a:bodyPr>
          <a:lstStyle>
            <a:lvl1pPr marL="0" indent="0">
              <a:buNone/>
              <a:defRPr lang="en-GB" sz="1000" dirty="0"/>
            </a:lvl1pPr>
          </a:lstStyle>
          <a:p>
            <a:pPr marL="245061" lvl="0" indent="-245061"/>
            <a:endParaRPr lang="en-GB" dirty="0"/>
          </a:p>
        </p:txBody>
      </p:sp>
      <p:sp>
        <p:nvSpPr>
          <p:cNvPr id="3" name="Footer Placeholder 2">
            <a:extLst>
              <a:ext uri="{FF2B5EF4-FFF2-40B4-BE49-F238E27FC236}">
                <a16:creationId xmlns:a16="http://schemas.microsoft.com/office/drawing/2014/main" xmlns="" id="{C7A0F4BA-ED0C-4772-A26B-189435D14C6E}"/>
              </a:ext>
            </a:extLst>
          </p:cNvPr>
          <p:cNvSpPr>
            <a:spLocks noGrp="1"/>
          </p:cNvSpPr>
          <p:nvPr>
            <p:ph type="ftr" sz="quarter" idx="11"/>
          </p:nvPr>
        </p:nvSpPr>
        <p:spPr/>
        <p:txBody>
          <a:bodyPr lIns="180000" tIns="93600" rIns="180000" bIns="93600"/>
          <a:lstStyle/>
          <a:p>
            <a:endParaRPr lang="en-GB" dirty="0">
              <a:solidFill>
                <a:srgbClr val="737373"/>
              </a:solidFill>
            </a:endParaRPr>
          </a:p>
        </p:txBody>
      </p:sp>
      <p:sp>
        <p:nvSpPr>
          <p:cNvPr id="4" name="Slide Number Placeholder 3">
            <a:extLst>
              <a:ext uri="{FF2B5EF4-FFF2-40B4-BE49-F238E27FC236}">
                <a16:creationId xmlns:a16="http://schemas.microsoft.com/office/drawing/2014/main" xmlns="" id="{4D7C4C13-E490-4E48-AC3E-A241D4F58079}"/>
              </a:ext>
            </a:extLst>
          </p:cNvPr>
          <p:cNvSpPr>
            <a:spLocks noGrp="1"/>
          </p:cNvSpPr>
          <p:nvPr>
            <p:ph type="sldNum" sz="quarter" idx="12"/>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412021475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isyDeck Master - 23">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3781392"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pic>
        <p:nvPicPr>
          <p:cNvPr id="19" name="Picture 18">
            <a:extLst>
              <a:ext uri="{FF2B5EF4-FFF2-40B4-BE49-F238E27FC236}">
                <a16:creationId xmlns:a16="http://schemas.microsoft.com/office/drawing/2014/main" xmlns="" id="{A433AE71-5498-4D15-BC53-747BB7E2D41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9013" y="567649"/>
            <a:ext cx="3800005" cy="5804575"/>
          </a:xfrm>
          <a:prstGeom prst="rect">
            <a:avLst/>
          </a:prstGeom>
        </p:spPr>
      </p:pic>
      <p:sp>
        <p:nvSpPr>
          <p:cNvPr id="20" name="Picture Placeholder 9">
            <a:extLst>
              <a:ext uri="{FF2B5EF4-FFF2-40B4-BE49-F238E27FC236}">
                <a16:creationId xmlns:a16="http://schemas.microsoft.com/office/drawing/2014/main" xmlns="" id="{5EAB7E32-52DC-4A4E-87F9-13F25D83B526}"/>
              </a:ext>
            </a:extLst>
          </p:cNvPr>
          <p:cNvSpPr>
            <a:spLocks noGrp="1"/>
          </p:cNvSpPr>
          <p:nvPr>
            <p:ph type="pic" sz="quarter" idx="13"/>
          </p:nvPr>
        </p:nvSpPr>
        <p:spPr>
          <a:xfrm>
            <a:off x="1610339" y="1331977"/>
            <a:ext cx="1618090" cy="376521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86744269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isyDeck Master - 2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xmlns="" id="{D601D05C-B332-4E1C-9305-128E50E777DC}"/>
              </a:ext>
            </a:extLst>
          </p:cNvPr>
          <p:cNvGrpSpPr/>
          <p:nvPr userDrawn="1"/>
        </p:nvGrpSpPr>
        <p:grpSpPr>
          <a:xfrm>
            <a:off x="155245" y="216759"/>
            <a:ext cx="437727" cy="569144"/>
            <a:chOff x="494744" y="523692"/>
            <a:chExt cx="1225205" cy="1225205"/>
          </a:xfrm>
        </p:grpSpPr>
        <p:grpSp>
          <p:nvGrpSpPr>
            <p:cNvPr id="16" name="Group 15">
              <a:extLst>
                <a:ext uri="{FF2B5EF4-FFF2-40B4-BE49-F238E27FC236}">
                  <a16:creationId xmlns:a16="http://schemas.microsoft.com/office/drawing/2014/main" xmlns="" id="{BFE32A13-D787-4B6B-BE85-868D551BEF1A}"/>
                </a:ext>
              </a:extLst>
            </p:cNvPr>
            <p:cNvGrpSpPr>
              <a:grpSpLocks noChangeAspect="1"/>
            </p:cNvGrpSpPr>
            <p:nvPr userDrawn="1"/>
          </p:nvGrpSpPr>
          <p:grpSpPr>
            <a:xfrm rot="18900000">
              <a:off x="707305" y="869222"/>
              <a:ext cx="471488" cy="153360"/>
              <a:chOff x="11661248" y="7789719"/>
              <a:chExt cx="1293156" cy="420621"/>
            </a:xfrm>
          </p:grpSpPr>
          <p:cxnSp>
            <p:nvCxnSpPr>
              <p:cNvPr id="20" name="Straight Connector 19">
                <a:extLst>
                  <a:ext uri="{FF2B5EF4-FFF2-40B4-BE49-F238E27FC236}">
                    <a16:creationId xmlns:a16="http://schemas.microsoft.com/office/drawing/2014/main" xmlns="" id="{CCD86F27-8085-4A2F-86BF-AB405C13E04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A9BCFE4-979D-4781-BCDA-688BBE99F8D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F1E562A7-F579-4E0D-A4A4-8724958F25D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7" name="Group 16">
              <a:extLst>
                <a:ext uri="{FF2B5EF4-FFF2-40B4-BE49-F238E27FC236}">
                  <a16:creationId xmlns:a16="http://schemas.microsoft.com/office/drawing/2014/main" xmlns="" id="{6CB88257-F744-41EB-B53D-79C81D243C45}"/>
                </a:ext>
              </a:extLst>
            </p:cNvPr>
            <p:cNvGrpSpPr/>
            <p:nvPr userDrawn="1"/>
          </p:nvGrpSpPr>
          <p:grpSpPr>
            <a:xfrm>
              <a:off x="494744" y="523692"/>
              <a:ext cx="1225205" cy="1225205"/>
              <a:chOff x="12636425" y="442230"/>
              <a:chExt cx="1860336" cy="1860336"/>
            </a:xfrm>
          </p:grpSpPr>
          <p:cxnSp>
            <p:nvCxnSpPr>
              <p:cNvPr id="18" name="Straight Connector 17">
                <a:extLst>
                  <a:ext uri="{FF2B5EF4-FFF2-40B4-BE49-F238E27FC236}">
                    <a16:creationId xmlns:a16="http://schemas.microsoft.com/office/drawing/2014/main" xmlns="" id="{136FFCC7-D131-46D7-B5C5-AD13B4C11DAE}"/>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0EFFAF1A-992F-4021-8C6F-0A022AA00BB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3" name="Title 1">
            <a:extLst>
              <a:ext uri="{FF2B5EF4-FFF2-40B4-BE49-F238E27FC236}">
                <a16:creationId xmlns:a16="http://schemas.microsoft.com/office/drawing/2014/main" xmlns="" id="{34576CDD-25B5-40D2-A0F8-E518F1E54D0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pic>
        <p:nvPicPr>
          <p:cNvPr id="25" name="Picture 24">
            <a:extLst>
              <a:ext uri="{FF2B5EF4-FFF2-40B4-BE49-F238E27FC236}">
                <a16:creationId xmlns:a16="http://schemas.microsoft.com/office/drawing/2014/main" xmlns="" id="{2D8C6CB7-66DF-450D-A4CE-76CD73C46F6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604345" y="864184"/>
            <a:ext cx="3800005" cy="5804575"/>
          </a:xfrm>
          <a:prstGeom prst="rect">
            <a:avLst/>
          </a:prstGeom>
        </p:spPr>
      </p:pic>
      <p:sp>
        <p:nvSpPr>
          <p:cNvPr id="26" name="Picture Placeholder 9">
            <a:extLst>
              <a:ext uri="{FF2B5EF4-FFF2-40B4-BE49-F238E27FC236}">
                <a16:creationId xmlns:a16="http://schemas.microsoft.com/office/drawing/2014/main" xmlns="" id="{5C48D15A-90EE-45F7-A6AB-D31AEF48620E}"/>
              </a:ext>
            </a:extLst>
          </p:cNvPr>
          <p:cNvSpPr>
            <a:spLocks noGrp="1"/>
          </p:cNvSpPr>
          <p:nvPr>
            <p:ph type="pic" sz="quarter" idx="12"/>
          </p:nvPr>
        </p:nvSpPr>
        <p:spPr>
          <a:xfrm>
            <a:off x="6222380" y="1653134"/>
            <a:ext cx="1639595" cy="375652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58252387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isyDeck Master - 25">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xmlns="" id="{B13D5F80-2C72-479B-A458-BA22CB51BA91}"/>
              </a:ext>
            </a:extLst>
          </p:cNvPr>
          <p:cNvGrpSpPr/>
          <p:nvPr userDrawn="1"/>
        </p:nvGrpSpPr>
        <p:grpSpPr>
          <a:xfrm>
            <a:off x="0" y="4455865"/>
            <a:ext cx="8712200" cy="1924376"/>
            <a:chOff x="0" y="4795550"/>
            <a:chExt cx="9144000" cy="2071077"/>
          </a:xfrm>
        </p:grpSpPr>
        <p:sp>
          <p:nvSpPr>
            <p:cNvPr id="15" name="Rectangle 14">
              <a:extLst>
                <a:ext uri="{FF2B5EF4-FFF2-40B4-BE49-F238E27FC236}">
                  <a16:creationId xmlns:a16="http://schemas.microsoft.com/office/drawing/2014/main" xmlns="" id="{A68C5289-5C20-40BD-962A-820984095510}"/>
                </a:ext>
              </a:extLst>
            </p:cNvPr>
            <p:cNvSpPr/>
            <p:nvPr userDrawn="1"/>
          </p:nvSpPr>
          <p:spPr>
            <a:xfrm>
              <a:off x="0" y="5141293"/>
              <a:ext cx="9144000" cy="1725334"/>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defTabSz="163358"/>
              <a:endParaRPr lang="en-GB" sz="1286" dirty="0">
                <a:solidFill>
                  <a:srgbClr val="FFFFFF"/>
                </a:solidFill>
              </a:endParaRPr>
            </a:p>
          </p:txBody>
        </p:sp>
        <p:grpSp>
          <p:nvGrpSpPr>
            <p:cNvPr id="16" name="Group 15">
              <a:extLst>
                <a:ext uri="{FF2B5EF4-FFF2-40B4-BE49-F238E27FC236}">
                  <a16:creationId xmlns:a16="http://schemas.microsoft.com/office/drawing/2014/main" xmlns="" id="{8B7D7982-D9A5-4089-83E1-7B1176621BC7}"/>
                </a:ext>
              </a:extLst>
            </p:cNvPr>
            <p:cNvGrpSpPr/>
            <p:nvPr userDrawn="1"/>
          </p:nvGrpSpPr>
          <p:grpSpPr>
            <a:xfrm>
              <a:off x="0" y="4795550"/>
              <a:ext cx="9144000" cy="691486"/>
              <a:chOff x="0" y="3562498"/>
              <a:chExt cx="9144000" cy="691486"/>
            </a:xfrm>
          </p:grpSpPr>
          <p:pic>
            <p:nvPicPr>
              <p:cNvPr id="17" name="Picture 16">
                <a:extLst>
                  <a:ext uri="{FF2B5EF4-FFF2-40B4-BE49-F238E27FC236}">
                    <a16:creationId xmlns:a16="http://schemas.microsoft.com/office/drawing/2014/main" xmlns="" id="{0B99BF25-74B8-4B62-BA28-22A153DFFEBB}"/>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3959997"/>
                <a:ext cx="9144000" cy="293987"/>
              </a:xfrm>
              <a:prstGeom prst="rect">
                <a:avLst/>
              </a:prstGeom>
            </p:spPr>
          </p:pic>
          <p:pic>
            <p:nvPicPr>
              <p:cNvPr id="18" name="Picture 17">
                <a:extLst>
                  <a:ext uri="{FF2B5EF4-FFF2-40B4-BE49-F238E27FC236}">
                    <a16:creationId xmlns:a16="http://schemas.microsoft.com/office/drawing/2014/main" xmlns="" id="{A2748281-9F80-4CA3-B938-300CF176E5A2}"/>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0800000">
                <a:off x="0" y="3562498"/>
                <a:ext cx="9144000" cy="293987"/>
              </a:xfrm>
              <a:prstGeom prst="rect">
                <a:avLst/>
              </a:prstGeom>
            </p:spPr>
          </p:pic>
        </p:grpSp>
      </p:grpSp>
      <p:grpSp>
        <p:nvGrpSpPr>
          <p:cNvPr id="24" name="Group 23">
            <a:extLst>
              <a:ext uri="{FF2B5EF4-FFF2-40B4-BE49-F238E27FC236}">
                <a16:creationId xmlns:a16="http://schemas.microsoft.com/office/drawing/2014/main" xmlns="" id="{A56954B4-A7F9-45FC-9648-4BFD13291EB0}"/>
              </a:ext>
            </a:extLst>
          </p:cNvPr>
          <p:cNvGrpSpPr/>
          <p:nvPr userDrawn="1"/>
        </p:nvGrpSpPr>
        <p:grpSpPr>
          <a:xfrm>
            <a:off x="3781392" y="216759"/>
            <a:ext cx="437727" cy="569144"/>
            <a:chOff x="494744" y="523692"/>
            <a:chExt cx="1225205" cy="1225205"/>
          </a:xfrm>
        </p:grpSpPr>
        <p:grpSp>
          <p:nvGrpSpPr>
            <p:cNvPr id="25" name="Group 24">
              <a:extLst>
                <a:ext uri="{FF2B5EF4-FFF2-40B4-BE49-F238E27FC236}">
                  <a16:creationId xmlns:a16="http://schemas.microsoft.com/office/drawing/2014/main" xmlns="" id="{0D278E2D-A2F0-4DB3-8EFB-52F393232380}"/>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0DCCF823-37BC-4F2A-ADF7-A7486A96E41B}"/>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AA8ECAD0-4F80-40C8-9BF2-00D459A5BC6C}"/>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81D4E9BF-5DE3-4890-B6FF-808B4CEDCA9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E71E7E83-C2AE-4572-B6C0-BD6214527F45}"/>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D73D6F7F-CD44-43CB-B22D-10C1BF35496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9A27872F-BE19-4C8F-9869-9C7A3A75FFE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A1282F83-6F8E-43ED-B4D4-2EF3E660E7CB}"/>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pic>
        <p:nvPicPr>
          <p:cNvPr id="27" name="Picture 26">
            <a:extLst>
              <a:ext uri="{FF2B5EF4-FFF2-40B4-BE49-F238E27FC236}">
                <a16:creationId xmlns:a16="http://schemas.microsoft.com/office/drawing/2014/main" xmlns="" id="{98C979B8-9034-4DAA-B701-6150A2324DC3}"/>
              </a:ext>
            </a:extLst>
          </p:cNvPr>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2" y="666283"/>
            <a:ext cx="3740886" cy="5714271"/>
          </a:xfrm>
          <a:prstGeom prst="rect">
            <a:avLst/>
          </a:prstGeom>
        </p:spPr>
      </p:pic>
      <p:sp>
        <p:nvSpPr>
          <p:cNvPr id="36" name="Picture Placeholder 9">
            <a:extLst>
              <a:ext uri="{FF2B5EF4-FFF2-40B4-BE49-F238E27FC236}">
                <a16:creationId xmlns:a16="http://schemas.microsoft.com/office/drawing/2014/main" xmlns="" id="{E643B197-2AA7-4209-8563-15FB5F5FA737}"/>
              </a:ext>
            </a:extLst>
          </p:cNvPr>
          <p:cNvSpPr>
            <a:spLocks noGrp="1"/>
          </p:cNvSpPr>
          <p:nvPr>
            <p:ph type="pic" sz="quarter" idx="13"/>
          </p:nvPr>
        </p:nvSpPr>
        <p:spPr>
          <a:xfrm>
            <a:off x="1576022" y="1418558"/>
            <a:ext cx="1635365" cy="3688142"/>
          </a:xfrm>
          <a:prstGeom prst="roundRect">
            <a:avLst>
              <a:gd name="adj" fmla="val 775"/>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37123202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isyDeck Master - 26">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xmlns=""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6016467" y="0"/>
            <a:ext cx="2485652" cy="6372225"/>
          </a:xfrm>
          <a:prstGeom prst="rect">
            <a:avLst/>
          </a:prstGeom>
        </p:spPr>
      </p:pic>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5514314"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6287169" y="889604"/>
            <a:ext cx="1910806" cy="4407947"/>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234141692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isyDeck Master - 27">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xmlns=""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071184" y="0"/>
            <a:ext cx="2569833" cy="6588032"/>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lgn="r">
              <a:defRPr lang="en-GB" smtClean="0"/>
            </a:lvl1pPr>
          </a:lstStyle>
          <a:p>
            <a:fld id="{0643FD91-E2F4-430C-9968-CE1C2F22CA4A}" type="slidenum">
              <a:rPr>
                <a:solidFill>
                  <a:srgbClr val="737373"/>
                </a:solidFill>
              </a:rPr>
              <a:pPr/>
              <a:t>‹#›</a:t>
            </a:fld>
            <a:endParaRPr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3357783" y="929676"/>
            <a:ext cx="1975519" cy="4560222"/>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p:ph type="title"/>
          </p:nvPr>
        </p:nvSpPr>
        <p:spPr>
          <a:xfrm>
            <a:off x="288517" y="376381"/>
            <a:ext cx="26378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42207398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isyDeck Master - 28">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B47361DE-DEFE-4D9E-AE8A-3CD9030376CE}"/>
              </a:ext>
            </a:extLst>
          </p:cNvPr>
          <p:cNvSpPr/>
          <p:nvPr userDrawn="1"/>
        </p:nvSpPr>
        <p:spPr>
          <a:xfrm>
            <a:off x="3322337" y="0"/>
            <a:ext cx="5389863"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30" name="Picture 29">
            <a:extLst>
              <a:ext uri="{FF2B5EF4-FFF2-40B4-BE49-F238E27FC236}">
                <a16:creationId xmlns:a16="http://schemas.microsoft.com/office/drawing/2014/main" xmlns="" id="{CEC8D887-2B01-4F16-9A14-5A214DD3B21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03153" y="206230"/>
            <a:ext cx="2904599" cy="6372225"/>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userDrawn="1">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userDrawn="1">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userDrawn="1">
            <p:ph type="pic" sz="quarter" idx="13"/>
          </p:nvPr>
        </p:nvSpPr>
        <p:spPr>
          <a:xfrm>
            <a:off x="3621690" y="897619"/>
            <a:ext cx="2021756" cy="460029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userDrawn="1">
            <p:ph type="title"/>
          </p:nvPr>
        </p:nvSpPr>
        <p:spPr>
          <a:xfrm>
            <a:off x="288517" y="376381"/>
            <a:ext cx="2416648"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xmlns="" id="{839768D6-5D8B-4946-BBA8-FD530A9859F7}"/>
              </a:ext>
            </a:extLst>
          </p:cNvPr>
          <p:cNvGrpSpPr>
            <a:grpSpLocks noChangeAspect="1"/>
          </p:cNvGrpSpPr>
          <p:nvPr userDrawn="1"/>
        </p:nvGrpSpPr>
        <p:grpSpPr>
          <a:xfrm rot="13500000" flipV="1">
            <a:off x="8523763" y="75227"/>
            <a:ext cx="219020" cy="54791"/>
            <a:chOff x="11661248" y="7789719"/>
            <a:chExt cx="1293156" cy="420621"/>
          </a:xfrm>
        </p:grpSpPr>
        <p:cxnSp>
          <p:nvCxnSpPr>
            <p:cNvPr id="26" name="Straight Connector 25">
              <a:extLst>
                <a:ext uri="{FF2B5EF4-FFF2-40B4-BE49-F238E27FC236}">
                  <a16:creationId xmlns:a16="http://schemas.microsoft.com/office/drawing/2014/main" xmlns="" id="{DCA14AC7-7260-4687-964A-2740D61FA6FD}"/>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27A26962-F849-48F5-9E2B-69F034C0A56E}"/>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812AE38E-60F3-4A70-8DB5-AE68F5202E7D}"/>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31" name="Picture 30">
            <a:extLst>
              <a:ext uri="{FF2B5EF4-FFF2-40B4-BE49-F238E27FC236}">
                <a16:creationId xmlns:a16="http://schemas.microsoft.com/office/drawing/2014/main" xmlns="" id="{888F0561-AAD1-4B6B-9D07-D2963A915DC8}"/>
              </a:ext>
            </a:extLst>
          </p:cNvPr>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rot="5400000">
            <a:off x="42246" y="3055088"/>
            <a:ext cx="6315386" cy="205211"/>
          </a:xfrm>
          <a:prstGeom prst="rect">
            <a:avLst/>
          </a:prstGeom>
        </p:spPr>
      </p:pic>
    </p:spTree>
    <p:extLst>
      <p:ext uri="{BB962C8B-B14F-4D97-AF65-F5344CB8AC3E}">
        <p14:creationId xmlns:p14="http://schemas.microsoft.com/office/powerpoint/2010/main" xmlns="" val="252651803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98814" y="1696092"/>
            <a:ext cx="3701329"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10906" y="1696092"/>
            <a:ext cx="3702483"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772814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isyDeck Master - 29">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2D3B6AFA-7C4E-4E23-90FB-8EB67560A7C4}"/>
              </a:ext>
            </a:extLst>
          </p:cNvPr>
          <p:cNvGrpSpPr/>
          <p:nvPr userDrawn="1"/>
        </p:nvGrpSpPr>
        <p:grpSpPr>
          <a:xfrm>
            <a:off x="-5297" y="0"/>
            <a:ext cx="4371954" cy="6372225"/>
            <a:chOff x="-14826" y="0"/>
            <a:chExt cx="12237169" cy="13717588"/>
          </a:xfrm>
        </p:grpSpPr>
        <p:sp>
          <p:nvSpPr>
            <p:cNvPr id="3" name="Rectangle 2">
              <a:extLst>
                <a:ext uri="{FF2B5EF4-FFF2-40B4-BE49-F238E27FC236}">
                  <a16:creationId xmlns:a16="http://schemas.microsoft.com/office/drawing/2014/main" xmlns="" id="{B47361DE-DEFE-4D9E-AE8A-3CD9030376CE}"/>
                </a:ext>
              </a:extLst>
            </p:cNvPr>
            <p:cNvSpPr/>
            <p:nvPr userDrawn="1"/>
          </p:nvSpPr>
          <p:spPr>
            <a:xfrm>
              <a:off x="0" y="0"/>
              <a:ext cx="12222343"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27" name="Group 26">
              <a:extLst>
                <a:ext uri="{FF2B5EF4-FFF2-40B4-BE49-F238E27FC236}">
                  <a16:creationId xmlns:a16="http://schemas.microsoft.com/office/drawing/2014/main" xmlns="" id="{99864369-F7C7-4D65-B98D-10FD391C2487}"/>
                </a:ext>
              </a:extLst>
            </p:cNvPr>
            <p:cNvGrpSpPr>
              <a:grpSpLocks noChangeAspect="1"/>
            </p:cNvGrpSpPr>
            <p:nvPr userDrawn="1"/>
          </p:nvGrpSpPr>
          <p:grpSpPr>
            <a:xfrm rot="8100000" flipH="1" flipV="1">
              <a:off x="-14826" y="144238"/>
              <a:ext cx="471488" cy="153360"/>
              <a:chOff x="11661248" y="7789719"/>
              <a:chExt cx="1293156" cy="420621"/>
            </a:xfrm>
          </p:grpSpPr>
          <p:cxnSp>
            <p:nvCxnSpPr>
              <p:cNvPr id="28" name="Straight Connector 27">
                <a:extLst>
                  <a:ext uri="{FF2B5EF4-FFF2-40B4-BE49-F238E27FC236}">
                    <a16:creationId xmlns:a16="http://schemas.microsoft.com/office/drawing/2014/main" xmlns="" id="{3B2F1E0D-A240-4FB7-8370-702A9A71AE38}"/>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3DF46D93-8AF6-4D8E-BB00-7B06E54B9E6C}"/>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2BC16BCC-1094-4E4A-9F74-15D29E21594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5553819"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p:ph type="title"/>
          </p:nvPr>
        </p:nvSpPr>
        <p:spPr>
          <a:xfrm>
            <a:off x="5687091" y="376381"/>
            <a:ext cx="2704566" cy="602506"/>
          </a:xfrm>
        </p:spPr>
        <p:txBody>
          <a:bodyPr lIns="180000" tIns="93600" rIns="180000" bIns="93600"/>
          <a:lstStyle>
            <a:lvl1pPr algn="l">
              <a:defRPr/>
            </a:lvl1pPr>
          </a:lstStyle>
          <a:p>
            <a:endParaRPr lang="en-GB" dirty="0"/>
          </a:p>
        </p:txBody>
      </p:sp>
      <p:pic>
        <p:nvPicPr>
          <p:cNvPr id="4" name="Picture 3">
            <a:extLst>
              <a:ext uri="{FF2B5EF4-FFF2-40B4-BE49-F238E27FC236}">
                <a16:creationId xmlns:a16="http://schemas.microsoft.com/office/drawing/2014/main" xmlns="" id="{0ED8AAFB-2CF0-4DEE-B3C5-50FE7A6E7E6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2380634" y="-481517"/>
            <a:ext cx="3373777" cy="7335259"/>
          </a:xfrm>
          <a:prstGeom prst="rect">
            <a:avLst/>
          </a:prstGeom>
          <a:effectLst/>
        </p:spPr>
      </p:pic>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2909959" y="1505801"/>
            <a:ext cx="2160371" cy="3334011"/>
          </a:xfrm>
          <a:prstGeom prst="roundRect">
            <a:avLst>
              <a:gd name="adj" fmla="val 17134"/>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434821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isyDeck Master - 30">
    <p:bg>
      <p:bgPr>
        <a:solidFill>
          <a:schemeClr val="bg1"/>
        </a:solidFill>
        <a:effectLst/>
      </p:bgPr>
    </p:bg>
    <p:spTree>
      <p:nvGrpSpPr>
        <p:cNvPr id="1" name=""/>
        <p:cNvGrpSpPr/>
        <p:nvPr/>
      </p:nvGrpSpPr>
      <p:grpSpPr>
        <a:xfrm>
          <a:off x="0" y="0"/>
          <a:ext cx="0" cy="0"/>
          <a:chOff x="0" y="0"/>
          <a:chExt cx="0" cy="0"/>
        </a:xfrm>
      </p:grpSpPr>
      <p:sp>
        <p:nvSpPr>
          <p:cNvPr id="18" name="Picture Placeholder 9">
            <a:extLst>
              <a:ext uri="{FF2B5EF4-FFF2-40B4-BE49-F238E27FC236}">
                <a16:creationId xmlns:a16="http://schemas.microsoft.com/office/drawing/2014/main" xmlns="" id="{6737E4BB-F42D-4C13-A81D-952C0EF49916}"/>
              </a:ext>
            </a:extLst>
          </p:cNvPr>
          <p:cNvSpPr>
            <a:spLocks noGrp="1"/>
          </p:cNvSpPr>
          <p:nvPr>
            <p:ph type="pic" sz="quarter" idx="15"/>
          </p:nvPr>
        </p:nvSpPr>
        <p:spPr>
          <a:xfrm>
            <a:off x="3871512" y="1413567"/>
            <a:ext cx="1550989" cy="35723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6" name="Picture Placeholder 9">
            <a:extLst>
              <a:ext uri="{FF2B5EF4-FFF2-40B4-BE49-F238E27FC236}">
                <a16:creationId xmlns:a16="http://schemas.microsoft.com/office/drawing/2014/main" xmlns="" id="{CD46C800-0956-4339-8910-43353136948E}"/>
              </a:ext>
            </a:extLst>
          </p:cNvPr>
          <p:cNvSpPr>
            <a:spLocks noGrp="1"/>
          </p:cNvSpPr>
          <p:nvPr>
            <p:ph type="pic" sz="quarter" idx="14"/>
          </p:nvPr>
        </p:nvSpPr>
        <p:spPr>
          <a:xfrm>
            <a:off x="6580939" y="1413567"/>
            <a:ext cx="1550989" cy="35796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7" y="376381"/>
            <a:ext cx="349193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userDrawn="1">
            <p:ph type="pic" sz="quarter" idx="13"/>
          </p:nvPr>
        </p:nvSpPr>
        <p:spPr>
          <a:xfrm>
            <a:off x="5139591" y="1145835"/>
            <a:ext cx="1724143" cy="397734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70802423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isyDeck Master - 31">
    <p:bg>
      <p:bgPr>
        <a:solidFill>
          <a:schemeClr val="bg1"/>
        </a:solidFill>
        <a:effectLst/>
      </p:bgPr>
    </p:bg>
    <p:spTree>
      <p:nvGrpSpPr>
        <p:cNvPr id="1" name=""/>
        <p:cNvGrpSpPr/>
        <p:nvPr/>
      </p:nvGrpSpPr>
      <p:grpSpPr>
        <a:xfrm>
          <a:off x="0" y="0"/>
          <a:ext cx="0" cy="0"/>
          <a:chOff x="0" y="0"/>
          <a:chExt cx="0" cy="0"/>
        </a:xfrm>
      </p:grpSpPr>
      <p:pic>
        <p:nvPicPr>
          <p:cNvPr id="28" name="Picture 27" descr="A close up of a logo&#10;&#10;Description generated with very high confidence">
            <a:extLst>
              <a:ext uri="{FF2B5EF4-FFF2-40B4-BE49-F238E27FC236}">
                <a16:creationId xmlns:a16="http://schemas.microsoft.com/office/drawing/2014/main" xmlns="" id="{B05E7ED0-73C3-4F47-8069-F983BA8A7A95}"/>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064172" y="3019254"/>
            <a:ext cx="6278871" cy="240363"/>
          </a:xfrm>
          <a:prstGeom prst="rect">
            <a:avLst/>
          </a:prstGeom>
        </p:spPr>
      </p:pic>
      <p:grpSp>
        <p:nvGrpSpPr>
          <p:cNvPr id="2" name="Group 1">
            <a:extLst>
              <a:ext uri="{FF2B5EF4-FFF2-40B4-BE49-F238E27FC236}">
                <a16:creationId xmlns:a16="http://schemas.microsoft.com/office/drawing/2014/main" xmlns="" id="{B14F2BB5-353F-4344-AC18-51D5278D950D}"/>
              </a:ext>
            </a:extLst>
          </p:cNvPr>
          <p:cNvGrpSpPr/>
          <p:nvPr userDrawn="1"/>
        </p:nvGrpSpPr>
        <p:grpSpPr>
          <a:xfrm>
            <a:off x="-5297" y="0"/>
            <a:ext cx="4111294" cy="6372225"/>
            <a:chOff x="-14826" y="0"/>
            <a:chExt cx="11507579" cy="13717588"/>
          </a:xfrm>
        </p:grpSpPr>
        <p:sp>
          <p:nvSpPr>
            <p:cNvPr id="25" name="Rectangle 24">
              <a:extLst>
                <a:ext uri="{FF2B5EF4-FFF2-40B4-BE49-F238E27FC236}">
                  <a16:creationId xmlns:a16="http://schemas.microsoft.com/office/drawing/2014/main" xmlns="" id="{19F6C994-71E3-4572-AE1E-3B5158A8683F}"/>
                </a:ext>
              </a:extLst>
            </p:cNvPr>
            <p:cNvSpPr/>
            <p:nvPr userDrawn="1"/>
          </p:nvSpPr>
          <p:spPr>
            <a:xfrm>
              <a:off x="-1" y="0"/>
              <a:ext cx="11492754"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8" name="Group 7">
              <a:extLst>
                <a:ext uri="{FF2B5EF4-FFF2-40B4-BE49-F238E27FC236}">
                  <a16:creationId xmlns:a16="http://schemas.microsoft.com/office/drawing/2014/main" xmlns="" id="{92202B36-E8F3-48EA-8E5E-3BC5D845D938}"/>
                </a:ext>
              </a:extLst>
            </p:cNvPr>
            <p:cNvGrpSpPr>
              <a:grpSpLocks noChangeAspect="1"/>
            </p:cNvGrpSpPr>
            <p:nvPr userDrawn="1"/>
          </p:nvGrpSpPr>
          <p:grpSpPr>
            <a:xfrm rot="8100000" flipH="1" flipV="1">
              <a:off x="-14826" y="144238"/>
              <a:ext cx="471488" cy="153360"/>
              <a:chOff x="11661248" y="7789719"/>
              <a:chExt cx="1293156" cy="420621"/>
            </a:xfrm>
          </p:grpSpPr>
          <p:cxnSp>
            <p:nvCxnSpPr>
              <p:cNvPr id="9" name="Straight Connector 8">
                <a:extLst>
                  <a:ext uri="{FF2B5EF4-FFF2-40B4-BE49-F238E27FC236}">
                    <a16:creationId xmlns:a16="http://schemas.microsoft.com/office/drawing/2014/main" xmlns="" id="{D9B64A4A-2E89-4085-ADDE-7E9F06F4BB8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3A4BF743-20A3-4E00-B9F4-F23C4C89657F}"/>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F46738D3-AB76-48BF-B979-CE41F69D6861}"/>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2" name="Group 11">
            <a:extLst>
              <a:ext uri="{FF2B5EF4-FFF2-40B4-BE49-F238E27FC236}">
                <a16:creationId xmlns:a16="http://schemas.microsoft.com/office/drawing/2014/main" xmlns="" id="{B41EEEEC-1529-4350-9D14-2180CF1834F5}"/>
              </a:ext>
            </a:extLst>
          </p:cNvPr>
          <p:cNvGrpSpPr/>
          <p:nvPr userDrawn="1"/>
        </p:nvGrpSpPr>
        <p:grpSpPr>
          <a:xfrm>
            <a:off x="4442705" y="216759"/>
            <a:ext cx="437727" cy="569144"/>
            <a:chOff x="494744" y="523692"/>
            <a:chExt cx="1225205" cy="1225205"/>
          </a:xfrm>
        </p:grpSpPr>
        <p:grpSp>
          <p:nvGrpSpPr>
            <p:cNvPr id="13" name="Group 12">
              <a:extLst>
                <a:ext uri="{FF2B5EF4-FFF2-40B4-BE49-F238E27FC236}">
                  <a16:creationId xmlns:a16="http://schemas.microsoft.com/office/drawing/2014/main" xmlns="" id="{A32D45B9-3A81-4428-BF7C-23FFB709D74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233C7D22-FE0C-470E-B249-317B5F5EA91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74962ED8-1E18-441E-B3A1-BD7DE7C734D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CFF6E848-7C8B-40FC-8F15-CAF1B038660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xmlns="" id="{E90DAD36-FB60-4F45-91DF-499871131D17}"/>
                </a:ext>
              </a:extLst>
            </p:cNvPr>
            <p:cNvGrpSpPr/>
            <p:nvPr userDrawn="1"/>
          </p:nvGrpSpPr>
          <p:grpSpPr>
            <a:xfrm>
              <a:off x="494744" y="523692"/>
              <a:ext cx="1225205" cy="1225205"/>
              <a:chOff x="12636425" y="442230"/>
              <a:chExt cx="1860336" cy="1860336"/>
            </a:xfrm>
          </p:grpSpPr>
          <p:cxnSp>
            <p:nvCxnSpPr>
              <p:cNvPr id="15" name="Straight Connector 14">
                <a:extLst>
                  <a:ext uri="{FF2B5EF4-FFF2-40B4-BE49-F238E27FC236}">
                    <a16:creationId xmlns:a16="http://schemas.microsoft.com/office/drawing/2014/main" xmlns="" id="{8D5815CC-408B-40FC-8BC8-AC95320847F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6F9D11A7-60E3-4EEE-B4ED-FABB30DEDD5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xmlns="" id="{D22706EC-68FC-4C21-8570-A6CFB91B8358}"/>
              </a:ext>
            </a:extLst>
          </p:cNvPr>
          <p:cNvSpPr>
            <a:spLocks noGrp="1"/>
          </p:cNvSpPr>
          <p:nvPr>
            <p:ph type="title"/>
          </p:nvPr>
        </p:nvSpPr>
        <p:spPr>
          <a:xfrm>
            <a:off x="4575977" y="376381"/>
            <a:ext cx="3815680" cy="602506"/>
          </a:xfrm>
        </p:spPr>
        <p:txBody>
          <a:bodyPr lIns="180000" tIns="93600" rIns="180000" bIns="93600"/>
          <a:lstStyle>
            <a:lvl1pPr algn="l">
              <a:defRPr/>
            </a:lvl1pPr>
          </a:lstStyle>
          <a:p>
            <a:endParaRPr lang="en-GB" dirty="0"/>
          </a:p>
        </p:txBody>
      </p:sp>
      <p:pic>
        <p:nvPicPr>
          <p:cNvPr id="26" name="Picture 25">
            <a:extLst>
              <a:ext uri="{FF2B5EF4-FFF2-40B4-BE49-F238E27FC236}">
                <a16:creationId xmlns:a16="http://schemas.microsoft.com/office/drawing/2014/main" xmlns="" id="{F15D7444-00E3-473F-AB65-33B456D5B1E4}"/>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8580" y="1307111"/>
            <a:ext cx="5395097" cy="4311206"/>
          </a:xfrm>
          <a:prstGeom prst="rect">
            <a:avLst/>
          </a:prstGeom>
        </p:spPr>
      </p:pic>
      <p:sp>
        <p:nvSpPr>
          <p:cNvPr id="24" name="Picture Placeholder 23">
            <a:extLst>
              <a:ext uri="{FF2B5EF4-FFF2-40B4-BE49-F238E27FC236}">
                <a16:creationId xmlns:a16="http://schemas.microsoft.com/office/drawing/2014/main" xmlns="" id="{274D54F8-4B37-4530-91FD-3729BFB56695}"/>
              </a:ext>
            </a:extLst>
          </p:cNvPr>
          <p:cNvSpPr>
            <a:spLocks noGrp="1"/>
          </p:cNvSpPr>
          <p:nvPr>
            <p:ph type="pic" sz="quarter" idx="14"/>
          </p:nvPr>
        </p:nvSpPr>
        <p:spPr>
          <a:xfrm>
            <a:off x="1681698" y="790656"/>
            <a:ext cx="2048862" cy="5016919"/>
          </a:xfrm>
          <a:custGeom>
            <a:avLst/>
            <a:gdLst>
              <a:gd name="connsiteX0" fmla="*/ 0 w 5734799"/>
              <a:gd name="connsiteY0" fmla="*/ 0 h 10800000"/>
              <a:gd name="connsiteX1" fmla="*/ 5734799 w 5734799"/>
              <a:gd name="connsiteY1" fmla="*/ 0 h 10800000"/>
              <a:gd name="connsiteX2" fmla="*/ 5734799 w 5734799"/>
              <a:gd name="connsiteY2" fmla="*/ 10800000 h 10800000"/>
              <a:gd name="connsiteX3" fmla="*/ 0 w 5734799"/>
              <a:gd name="connsiteY3" fmla="*/ 10800000 h 10800000"/>
            </a:gdLst>
            <a:ahLst/>
            <a:cxnLst>
              <a:cxn ang="0">
                <a:pos x="connsiteX0" y="connsiteY0"/>
              </a:cxn>
              <a:cxn ang="0">
                <a:pos x="connsiteX1" y="connsiteY1"/>
              </a:cxn>
              <a:cxn ang="0">
                <a:pos x="connsiteX2" y="connsiteY2"/>
              </a:cxn>
              <a:cxn ang="0">
                <a:pos x="connsiteX3" y="connsiteY3"/>
              </a:cxn>
            </a:cxnLst>
            <a:rect l="l" t="t" r="r" b="b"/>
            <a:pathLst>
              <a:path w="5734799" h="10800000">
                <a:moveTo>
                  <a:pt x="0" y="0"/>
                </a:moveTo>
                <a:lnTo>
                  <a:pt x="5734799" y="0"/>
                </a:lnTo>
                <a:lnTo>
                  <a:pt x="5734799" y="10800000"/>
                </a:lnTo>
                <a:lnTo>
                  <a:pt x="0" y="10800000"/>
                </a:lnTo>
                <a:close/>
              </a:path>
            </a:pathLst>
          </a:custGeom>
          <a:pattFill prst="pct5">
            <a:fgClr>
              <a:schemeClr val="bg1"/>
            </a:fgClr>
            <a:bgClr>
              <a:schemeClr val="bg2"/>
            </a:bgClr>
          </a:pattFill>
          <a:scene3d>
            <a:camera prst="orthographicFront">
              <a:rot lat="19500000" lon="19020000" rev="3642000"/>
            </a:camera>
            <a:lightRig rig="threePt" dir="t"/>
          </a:scene3d>
        </p:spPr>
        <p:txBody>
          <a:bodyPr wrap="square" lIns="180000" tIns="93600" rIns="180000" bIns="93600">
            <a:noAutofit/>
          </a:bodyPr>
          <a:lstStyle>
            <a:lvl1pPr marL="0" indent="0">
              <a:buNone/>
              <a:defRPr sz="1000">
                <a:solidFill>
                  <a:schemeClr val="tx1"/>
                </a:solidFill>
              </a:defRPr>
            </a:lvl1pPr>
          </a:lstStyle>
          <a:p>
            <a:endParaRPr lang="en-GB" dirty="0"/>
          </a:p>
        </p:txBody>
      </p:sp>
    </p:spTree>
    <p:extLst>
      <p:ext uri="{BB962C8B-B14F-4D97-AF65-F5344CB8AC3E}">
        <p14:creationId xmlns:p14="http://schemas.microsoft.com/office/powerpoint/2010/main" xmlns="" val="217316819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isyDeck Master - 3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089F44F8-DCE9-4076-ACE8-2742418C48D6}"/>
              </a:ext>
            </a:extLst>
          </p:cNvPr>
          <p:cNvSpPr>
            <a:spLocks noGrp="1" noChangeAspect="1"/>
          </p:cNvSpPr>
          <p:nvPr>
            <p:ph type="pic" sz="quarter" idx="13"/>
          </p:nvPr>
        </p:nvSpPr>
        <p:spPr>
          <a:xfrm>
            <a:off x="1338850" y="-28252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6" name="Picture Placeholder 13">
            <a:extLst>
              <a:ext uri="{FF2B5EF4-FFF2-40B4-BE49-F238E27FC236}">
                <a16:creationId xmlns:a16="http://schemas.microsoft.com/office/drawing/2014/main" xmlns="" id="{0024E08D-9066-41E8-8442-A996AD2323AC}"/>
              </a:ext>
            </a:extLst>
          </p:cNvPr>
          <p:cNvSpPr>
            <a:spLocks noGrp="1" noChangeAspect="1"/>
          </p:cNvSpPr>
          <p:nvPr>
            <p:ph type="pic" sz="quarter" idx="14"/>
          </p:nvPr>
        </p:nvSpPr>
        <p:spPr>
          <a:xfrm>
            <a:off x="781629" y="1078478"/>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xmlns="" id="{A660E852-EF80-4861-B32B-AE8F19075976}"/>
              </a:ext>
            </a:extLst>
          </p:cNvPr>
          <p:cNvSpPr>
            <a:spLocks noGrp="1" noChangeAspect="1"/>
          </p:cNvSpPr>
          <p:nvPr>
            <p:ph type="pic" sz="quarter" idx="16"/>
          </p:nvPr>
        </p:nvSpPr>
        <p:spPr>
          <a:xfrm>
            <a:off x="3335699" y="122908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grpSp>
        <p:nvGrpSpPr>
          <p:cNvPr id="32" name="Group 31">
            <a:extLst>
              <a:ext uri="{FF2B5EF4-FFF2-40B4-BE49-F238E27FC236}">
                <a16:creationId xmlns:a16="http://schemas.microsoft.com/office/drawing/2014/main" xmlns="" id="{176D50AB-0059-4D6A-92EB-9B7058C6FF71}"/>
              </a:ext>
            </a:extLst>
          </p:cNvPr>
          <p:cNvGrpSpPr/>
          <p:nvPr userDrawn="1"/>
        </p:nvGrpSpPr>
        <p:grpSpPr>
          <a:xfrm>
            <a:off x="5211415" y="742379"/>
            <a:ext cx="437727" cy="569144"/>
            <a:chOff x="494744" y="523692"/>
            <a:chExt cx="1225205" cy="1225205"/>
          </a:xfrm>
        </p:grpSpPr>
        <p:grpSp>
          <p:nvGrpSpPr>
            <p:cNvPr id="33" name="Group 32">
              <a:extLst>
                <a:ext uri="{FF2B5EF4-FFF2-40B4-BE49-F238E27FC236}">
                  <a16:creationId xmlns:a16="http://schemas.microsoft.com/office/drawing/2014/main" xmlns="" id="{29A3D4B4-747D-463B-96CE-F8962D657F7D}"/>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xmlns="" id="{310E1F01-18C8-48A5-AFA8-E7F53A51E56D}"/>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71715885-7ADB-41AA-810B-232ED8FF1AF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B4BE50AF-D2BF-462A-AB14-062F7C659DC6}"/>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5E752E3B-4171-421F-91C5-08BB0035FE9F}"/>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xmlns="" id="{829F4774-5DD9-4E30-9761-73FA269D3CB3}"/>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EF6A409A-006F-4DD0-A1AA-C21EB76A8F44}"/>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xmlns="" id="{B7EE9902-4978-40CC-99BD-8EC8C289B008}"/>
              </a:ext>
            </a:extLst>
          </p:cNvPr>
          <p:cNvSpPr>
            <a:spLocks noGrp="1"/>
          </p:cNvSpPr>
          <p:nvPr>
            <p:ph type="title"/>
          </p:nvPr>
        </p:nvSpPr>
        <p:spPr>
          <a:xfrm>
            <a:off x="5344687" y="902001"/>
            <a:ext cx="3046970" cy="602506"/>
          </a:xfrm>
        </p:spPr>
        <p:txBody>
          <a:bodyPr lIns="180000" tIns="93600" rIns="180000" bIns="93600"/>
          <a:lstStyle>
            <a:lvl1pPr algn="l">
              <a:defRPr/>
            </a:lvl1pPr>
          </a:lstStyle>
          <a:p>
            <a:endParaRPr lang="en-GB" dirty="0"/>
          </a:p>
        </p:txBody>
      </p:sp>
      <p:sp>
        <p:nvSpPr>
          <p:cNvPr id="17" name="Picture Placeholder 13">
            <a:extLst>
              <a:ext uri="{FF2B5EF4-FFF2-40B4-BE49-F238E27FC236}">
                <a16:creationId xmlns:a16="http://schemas.microsoft.com/office/drawing/2014/main" xmlns="" id="{CF647601-497A-44D9-9816-F3769B45ECAF}"/>
              </a:ext>
            </a:extLst>
          </p:cNvPr>
          <p:cNvSpPr>
            <a:spLocks noGrp="1" noChangeAspect="1"/>
          </p:cNvSpPr>
          <p:nvPr>
            <p:ph type="pic" sz="quarter" idx="15"/>
          </p:nvPr>
        </p:nvSpPr>
        <p:spPr>
          <a:xfrm>
            <a:off x="781629" y="286335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xmlns="" id="{4134C875-D4E1-4F51-BFEC-7538043697A4}"/>
              </a:ext>
            </a:extLst>
          </p:cNvPr>
          <p:cNvSpPr>
            <a:spLocks noGrp="1" noChangeAspect="1"/>
          </p:cNvSpPr>
          <p:nvPr>
            <p:ph type="pic" sz="quarter" idx="17"/>
          </p:nvPr>
        </p:nvSpPr>
        <p:spPr>
          <a:xfrm>
            <a:off x="2777305" y="259348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xmlns="" val="341229512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isyDeck Master - 3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089F44F8-DCE9-4076-ACE8-2742418C48D6}"/>
              </a:ext>
            </a:extLst>
          </p:cNvPr>
          <p:cNvSpPr>
            <a:spLocks noGrp="1" noChangeAspect="1"/>
          </p:cNvSpPr>
          <p:nvPr>
            <p:ph type="pic" sz="quarter" idx="13"/>
          </p:nvPr>
        </p:nvSpPr>
        <p:spPr>
          <a:xfrm>
            <a:off x="4419414" y="-534836"/>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7" name="Picture Placeholder 13">
            <a:extLst>
              <a:ext uri="{FF2B5EF4-FFF2-40B4-BE49-F238E27FC236}">
                <a16:creationId xmlns:a16="http://schemas.microsoft.com/office/drawing/2014/main" xmlns="" id="{CF647601-497A-44D9-9816-F3769B45ECAF}"/>
              </a:ext>
            </a:extLst>
          </p:cNvPr>
          <p:cNvSpPr>
            <a:spLocks noGrp="1" noChangeAspect="1"/>
          </p:cNvSpPr>
          <p:nvPr>
            <p:ph type="pic" sz="quarter" idx="15"/>
          </p:nvPr>
        </p:nvSpPr>
        <p:spPr>
          <a:xfrm>
            <a:off x="6571282" y="-68544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xmlns="" id="{A660E852-EF80-4861-B32B-AE8F19075976}"/>
              </a:ext>
            </a:extLst>
          </p:cNvPr>
          <p:cNvSpPr>
            <a:spLocks noGrp="1" noChangeAspect="1"/>
          </p:cNvSpPr>
          <p:nvPr>
            <p:ph type="pic" sz="quarter" idx="16"/>
          </p:nvPr>
        </p:nvSpPr>
        <p:spPr>
          <a:xfrm>
            <a:off x="6416768" y="986861"/>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grpSp>
        <p:nvGrpSpPr>
          <p:cNvPr id="9" name="Group 8">
            <a:extLst>
              <a:ext uri="{FF2B5EF4-FFF2-40B4-BE49-F238E27FC236}">
                <a16:creationId xmlns:a16="http://schemas.microsoft.com/office/drawing/2014/main" xmlns="" id="{5012DF6D-B344-436A-BE04-7FE3C247F642}"/>
              </a:ext>
            </a:extLst>
          </p:cNvPr>
          <p:cNvGrpSpPr/>
          <p:nvPr userDrawn="1"/>
        </p:nvGrpSpPr>
        <p:grpSpPr>
          <a:xfrm>
            <a:off x="155245" y="338168"/>
            <a:ext cx="437727" cy="569144"/>
            <a:chOff x="494744" y="523692"/>
            <a:chExt cx="1225205" cy="1225205"/>
          </a:xfrm>
        </p:grpSpPr>
        <p:grpSp>
          <p:nvGrpSpPr>
            <p:cNvPr id="10" name="Group 9">
              <a:extLst>
                <a:ext uri="{FF2B5EF4-FFF2-40B4-BE49-F238E27FC236}">
                  <a16:creationId xmlns:a16="http://schemas.microsoft.com/office/drawing/2014/main" xmlns="" id="{C66CA5D5-9B15-4987-B045-67A4048E8EFE}"/>
                </a:ext>
              </a:extLst>
            </p:cNvPr>
            <p:cNvGrpSpPr>
              <a:grpSpLocks noChangeAspect="1"/>
            </p:cNvGrpSpPr>
            <p:nvPr userDrawn="1"/>
          </p:nvGrpSpPr>
          <p:grpSpPr>
            <a:xfrm rot="18900000">
              <a:off x="707305" y="869222"/>
              <a:ext cx="471488" cy="153360"/>
              <a:chOff x="11661248" y="7789719"/>
              <a:chExt cx="1293156" cy="420621"/>
            </a:xfrm>
          </p:grpSpPr>
          <p:cxnSp>
            <p:nvCxnSpPr>
              <p:cNvPr id="15" name="Straight Connector 14">
                <a:extLst>
                  <a:ext uri="{FF2B5EF4-FFF2-40B4-BE49-F238E27FC236}">
                    <a16:creationId xmlns:a16="http://schemas.microsoft.com/office/drawing/2014/main" xmlns="" id="{3F919408-5620-47DA-868B-9A754FC938FE}"/>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AA25A79-0F4F-425D-B49F-562699DD2CE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CFD65EF6-17FC-4F5B-88EE-ACC28A9398E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1" name="Group 10">
              <a:extLst>
                <a:ext uri="{FF2B5EF4-FFF2-40B4-BE49-F238E27FC236}">
                  <a16:creationId xmlns:a16="http://schemas.microsoft.com/office/drawing/2014/main" xmlns="" id="{1CAB5541-771B-4D21-959F-D6079C20AE54}"/>
                </a:ext>
              </a:extLst>
            </p:cNvPr>
            <p:cNvGrpSpPr/>
            <p:nvPr userDrawn="1"/>
          </p:nvGrpSpPr>
          <p:grpSpPr>
            <a:xfrm>
              <a:off x="494744" y="523692"/>
              <a:ext cx="1225205" cy="1225205"/>
              <a:chOff x="12636425" y="442230"/>
              <a:chExt cx="1860336" cy="1860336"/>
            </a:xfrm>
          </p:grpSpPr>
          <p:cxnSp>
            <p:nvCxnSpPr>
              <p:cNvPr id="12" name="Straight Connector 11">
                <a:extLst>
                  <a:ext uri="{FF2B5EF4-FFF2-40B4-BE49-F238E27FC236}">
                    <a16:creationId xmlns:a16="http://schemas.microsoft.com/office/drawing/2014/main" xmlns="" id="{4A853992-4A7B-426A-ACCD-08C99DCB97A6}"/>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6E6FC0C0-575D-450F-AAEF-605C0706869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04252651-55B1-4396-9970-6C2BF664EA6F}"/>
              </a:ext>
            </a:extLst>
          </p:cNvPr>
          <p:cNvSpPr>
            <a:spLocks noGrp="1"/>
          </p:cNvSpPr>
          <p:nvPr>
            <p:ph type="title"/>
          </p:nvPr>
        </p:nvSpPr>
        <p:spPr>
          <a:xfrm>
            <a:off x="288517" y="497790"/>
            <a:ext cx="3032637" cy="602506"/>
          </a:xfrm>
        </p:spPr>
        <p:txBody>
          <a:bodyPr lIns="180000" tIns="93600" rIns="180000" bIns="93600"/>
          <a:lstStyle>
            <a:lvl1pPr algn="l">
              <a:defRPr/>
            </a:lvl1pPr>
          </a:lstStyle>
          <a:p>
            <a:endParaRPr lang="en-GB" dirty="0"/>
          </a:p>
        </p:txBody>
      </p:sp>
      <p:sp>
        <p:nvSpPr>
          <p:cNvPr id="16" name="Picture Placeholder 13">
            <a:extLst>
              <a:ext uri="{FF2B5EF4-FFF2-40B4-BE49-F238E27FC236}">
                <a16:creationId xmlns:a16="http://schemas.microsoft.com/office/drawing/2014/main" xmlns="" id="{0024E08D-9066-41E8-8442-A996AD2323AC}"/>
              </a:ext>
            </a:extLst>
          </p:cNvPr>
          <p:cNvSpPr>
            <a:spLocks noGrp="1" noChangeAspect="1"/>
          </p:cNvSpPr>
          <p:nvPr>
            <p:ph type="pic" sz="quarter" idx="14"/>
          </p:nvPr>
        </p:nvSpPr>
        <p:spPr>
          <a:xfrm>
            <a:off x="3870284" y="829562"/>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xmlns="" id="{4134C875-D4E1-4F51-BFEC-7538043697A4}"/>
              </a:ext>
            </a:extLst>
          </p:cNvPr>
          <p:cNvSpPr>
            <a:spLocks noGrp="1" noChangeAspect="1"/>
          </p:cNvSpPr>
          <p:nvPr>
            <p:ph type="pic" sz="quarter" idx="17"/>
          </p:nvPr>
        </p:nvSpPr>
        <p:spPr>
          <a:xfrm>
            <a:off x="5847171" y="229364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xmlns="" val="274054217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isyDeck Master - 3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6" name="Picture Placeholder 45">
            <a:extLst>
              <a:ext uri="{FF2B5EF4-FFF2-40B4-BE49-F238E27FC236}">
                <a16:creationId xmlns:a16="http://schemas.microsoft.com/office/drawing/2014/main" xmlns="" id="{84D2AC66-4634-40E4-9EE7-4ED8DF1C4310}"/>
              </a:ext>
            </a:extLst>
          </p:cNvPr>
          <p:cNvSpPr>
            <a:spLocks noGrp="1"/>
          </p:cNvSpPr>
          <p:nvPr>
            <p:ph type="pic" sz="quarter" idx="45"/>
          </p:nvPr>
        </p:nvSpPr>
        <p:spPr>
          <a:xfrm>
            <a:off x="6874032" y="-8055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7" name="Picture Placeholder 46">
            <a:extLst>
              <a:ext uri="{FF2B5EF4-FFF2-40B4-BE49-F238E27FC236}">
                <a16:creationId xmlns:a16="http://schemas.microsoft.com/office/drawing/2014/main" xmlns="" id="{03E9E5E4-A0CA-487A-8B56-C7B2C2531933}"/>
              </a:ext>
            </a:extLst>
          </p:cNvPr>
          <p:cNvSpPr>
            <a:spLocks noGrp="1"/>
          </p:cNvSpPr>
          <p:nvPr>
            <p:ph type="pic" sz="quarter" idx="46"/>
          </p:nvPr>
        </p:nvSpPr>
        <p:spPr>
          <a:xfrm>
            <a:off x="8200697" y="9425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1" name="Picture Placeholder 40">
            <a:extLst>
              <a:ext uri="{FF2B5EF4-FFF2-40B4-BE49-F238E27FC236}">
                <a16:creationId xmlns:a16="http://schemas.microsoft.com/office/drawing/2014/main" xmlns="" id="{45B3017C-7BA6-432C-ACB7-763FAFF07C93}"/>
              </a:ext>
            </a:extLst>
          </p:cNvPr>
          <p:cNvSpPr>
            <a:spLocks noGrp="1"/>
          </p:cNvSpPr>
          <p:nvPr>
            <p:ph type="pic" sz="quarter" idx="42"/>
          </p:nvPr>
        </p:nvSpPr>
        <p:spPr>
          <a:xfrm>
            <a:off x="4746850" y="-10930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2" name="Picture Placeholder 41">
            <a:extLst>
              <a:ext uri="{FF2B5EF4-FFF2-40B4-BE49-F238E27FC236}">
                <a16:creationId xmlns:a16="http://schemas.microsoft.com/office/drawing/2014/main" xmlns="" id="{27167769-18C3-40E6-B714-356ED2601B2F}"/>
              </a:ext>
            </a:extLst>
          </p:cNvPr>
          <p:cNvSpPr>
            <a:spLocks noGrp="1"/>
          </p:cNvSpPr>
          <p:nvPr>
            <p:ph type="pic" sz="quarter" idx="43"/>
          </p:nvPr>
        </p:nvSpPr>
        <p:spPr>
          <a:xfrm>
            <a:off x="6073515" y="6550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3" name="Picture Placeholder 42">
            <a:extLst>
              <a:ext uri="{FF2B5EF4-FFF2-40B4-BE49-F238E27FC236}">
                <a16:creationId xmlns:a16="http://schemas.microsoft.com/office/drawing/2014/main" xmlns="" id="{87CD76C3-9584-4779-8EE6-1D6D3638AB6C}"/>
              </a:ext>
            </a:extLst>
          </p:cNvPr>
          <p:cNvSpPr>
            <a:spLocks noGrp="1"/>
          </p:cNvSpPr>
          <p:nvPr>
            <p:ph type="pic" sz="quarter" idx="44"/>
          </p:nvPr>
        </p:nvSpPr>
        <p:spPr>
          <a:xfrm>
            <a:off x="7400181" y="240320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3" name="Group 12">
            <a:extLst>
              <a:ext uri="{FF2B5EF4-FFF2-40B4-BE49-F238E27FC236}">
                <a16:creationId xmlns:a16="http://schemas.microsoft.com/office/drawing/2014/main" xmlns="" id="{288531B6-3E28-425F-8F4B-35331FFB6EF2}"/>
              </a:ext>
            </a:extLst>
          </p:cNvPr>
          <p:cNvGrpSpPr/>
          <p:nvPr userDrawn="1"/>
        </p:nvGrpSpPr>
        <p:grpSpPr>
          <a:xfrm>
            <a:off x="155245" y="338168"/>
            <a:ext cx="437727" cy="569144"/>
            <a:chOff x="494744" y="523692"/>
            <a:chExt cx="1225205" cy="1225205"/>
          </a:xfrm>
        </p:grpSpPr>
        <p:grpSp>
          <p:nvGrpSpPr>
            <p:cNvPr id="14" name="Group 13">
              <a:extLst>
                <a:ext uri="{FF2B5EF4-FFF2-40B4-BE49-F238E27FC236}">
                  <a16:creationId xmlns:a16="http://schemas.microsoft.com/office/drawing/2014/main" xmlns="" id="{2C0C2755-02A7-434C-AEEB-6B2D0628A82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6CB28DB8-5290-444B-B9D3-603BA546338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68F26487-D8A4-4583-A09B-53D295E743DB}"/>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CFE6EC8C-4C03-4823-A4CC-CBCF37B83E2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CC9DED14-0D78-42AB-9E44-D28E2DCF6686}"/>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3B37AAAB-39FA-48B2-AF08-B60F1363341A}"/>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495286BD-949E-4BA2-8827-7104C3AE5609}"/>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xmlns="" id="{9C92DACB-5061-4EC9-BE24-3E09B99E030E}"/>
              </a:ext>
            </a:extLst>
          </p:cNvPr>
          <p:cNvSpPr>
            <a:spLocks noGrp="1"/>
          </p:cNvSpPr>
          <p:nvPr>
            <p:ph type="title"/>
          </p:nvPr>
        </p:nvSpPr>
        <p:spPr>
          <a:xfrm>
            <a:off x="288517" y="497790"/>
            <a:ext cx="3245334" cy="602506"/>
          </a:xfrm>
        </p:spPr>
        <p:txBody>
          <a:bodyPr lIns="180000" tIns="93600" rIns="180000" bIns="93600"/>
          <a:lstStyle>
            <a:lvl1pPr algn="l">
              <a:defRPr/>
            </a:lvl1pPr>
          </a:lstStyle>
          <a:p>
            <a:endParaRPr lang="en-GB" dirty="0"/>
          </a:p>
        </p:txBody>
      </p:sp>
      <p:sp>
        <p:nvSpPr>
          <p:cNvPr id="36" name="Picture Placeholder 35">
            <a:extLst>
              <a:ext uri="{FF2B5EF4-FFF2-40B4-BE49-F238E27FC236}">
                <a16:creationId xmlns:a16="http://schemas.microsoft.com/office/drawing/2014/main" xmlns="" id="{F73DCBD7-DD15-421A-B578-A003247AC923}"/>
              </a:ext>
            </a:extLst>
          </p:cNvPr>
          <p:cNvSpPr>
            <a:spLocks noGrp="1"/>
          </p:cNvSpPr>
          <p:nvPr>
            <p:ph type="pic" sz="quarter" idx="40"/>
          </p:nvPr>
        </p:nvSpPr>
        <p:spPr>
          <a:xfrm>
            <a:off x="5005370" y="1699255"/>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35" name="Picture Placeholder 34">
            <a:extLst>
              <a:ext uri="{FF2B5EF4-FFF2-40B4-BE49-F238E27FC236}">
                <a16:creationId xmlns:a16="http://schemas.microsoft.com/office/drawing/2014/main" xmlns="" id="{CBDD60D0-18A2-4125-A01C-FCA503A22121}"/>
              </a:ext>
            </a:extLst>
          </p:cNvPr>
          <p:cNvSpPr>
            <a:spLocks noGrp="1"/>
          </p:cNvSpPr>
          <p:nvPr>
            <p:ph type="pic" sz="quarter" idx="39"/>
          </p:nvPr>
        </p:nvSpPr>
        <p:spPr>
          <a:xfrm>
            <a:off x="3678704" y="-4887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37" name="Picture Placeholder 36">
            <a:extLst>
              <a:ext uri="{FF2B5EF4-FFF2-40B4-BE49-F238E27FC236}">
                <a16:creationId xmlns:a16="http://schemas.microsoft.com/office/drawing/2014/main" xmlns="" id="{69DCFE31-1621-474A-A4A9-85927AC62EB6}"/>
              </a:ext>
            </a:extLst>
          </p:cNvPr>
          <p:cNvSpPr>
            <a:spLocks noGrp="1"/>
          </p:cNvSpPr>
          <p:nvPr>
            <p:ph type="pic" sz="quarter" idx="41"/>
          </p:nvPr>
        </p:nvSpPr>
        <p:spPr>
          <a:xfrm>
            <a:off x="6332035" y="344738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Tree>
    <p:extLst>
      <p:ext uri="{BB962C8B-B14F-4D97-AF65-F5344CB8AC3E}">
        <p14:creationId xmlns:p14="http://schemas.microsoft.com/office/powerpoint/2010/main" xmlns="" val="274712049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isyDeck Master - 35">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2" name="Picture Placeholder 11">
            <a:extLst>
              <a:ext uri="{FF2B5EF4-FFF2-40B4-BE49-F238E27FC236}">
                <a16:creationId xmlns:a16="http://schemas.microsoft.com/office/drawing/2014/main" xmlns="" id="{3A51EF0C-1A23-4369-B5DE-7E9EDF7B1E88}"/>
              </a:ext>
            </a:extLst>
          </p:cNvPr>
          <p:cNvSpPr>
            <a:spLocks noGrp="1"/>
          </p:cNvSpPr>
          <p:nvPr>
            <p:ph type="pic" sz="quarter" idx="45"/>
          </p:nvPr>
        </p:nvSpPr>
        <p:spPr>
          <a:xfrm>
            <a:off x="1262221"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4" name="Picture Placeholder 23">
            <a:extLst>
              <a:ext uri="{FF2B5EF4-FFF2-40B4-BE49-F238E27FC236}">
                <a16:creationId xmlns:a16="http://schemas.microsoft.com/office/drawing/2014/main" xmlns="" id="{90EE5FBF-4460-48D2-B96A-25F14BF13B60}"/>
              </a:ext>
            </a:extLst>
          </p:cNvPr>
          <p:cNvSpPr>
            <a:spLocks noGrp="1"/>
          </p:cNvSpPr>
          <p:nvPr>
            <p:ph type="pic" sz="quarter" idx="48"/>
          </p:nvPr>
        </p:nvSpPr>
        <p:spPr>
          <a:xfrm>
            <a:off x="3076954"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6" name="Picture Placeholder 25">
            <a:extLst>
              <a:ext uri="{FF2B5EF4-FFF2-40B4-BE49-F238E27FC236}">
                <a16:creationId xmlns:a16="http://schemas.microsoft.com/office/drawing/2014/main" xmlns="" id="{81DF59BB-AAD5-4AC6-A72D-20017C4A3FAD}"/>
              </a:ext>
            </a:extLst>
          </p:cNvPr>
          <p:cNvSpPr>
            <a:spLocks noGrp="1"/>
          </p:cNvSpPr>
          <p:nvPr>
            <p:ph type="pic" sz="quarter" idx="50"/>
          </p:nvPr>
        </p:nvSpPr>
        <p:spPr>
          <a:xfrm>
            <a:off x="4891686"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8" name="Picture Placeholder 27">
            <a:extLst>
              <a:ext uri="{FF2B5EF4-FFF2-40B4-BE49-F238E27FC236}">
                <a16:creationId xmlns:a16="http://schemas.microsoft.com/office/drawing/2014/main" xmlns="" id="{3C772A98-CBBC-4465-B372-1AAEF5380DA2}"/>
              </a:ext>
            </a:extLst>
          </p:cNvPr>
          <p:cNvSpPr>
            <a:spLocks noGrp="1"/>
          </p:cNvSpPr>
          <p:nvPr>
            <p:ph type="pic" sz="quarter" idx="52"/>
          </p:nvPr>
        </p:nvSpPr>
        <p:spPr>
          <a:xfrm>
            <a:off x="6706420"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3" name="Picture Placeholder 12">
            <a:extLst>
              <a:ext uri="{FF2B5EF4-FFF2-40B4-BE49-F238E27FC236}">
                <a16:creationId xmlns:a16="http://schemas.microsoft.com/office/drawing/2014/main" xmlns="" id="{8A3C2A5A-1AA5-4FA6-9D57-66D1941C208C}"/>
              </a:ext>
            </a:extLst>
          </p:cNvPr>
          <p:cNvSpPr>
            <a:spLocks noGrp="1"/>
          </p:cNvSpPr>
          <p:nvPr>
            <p:ph type="pic" sz="quarter" idx="46"/>
          </p:nvPr>
        </p:nvSpPr>
        <p:spPr>
          <a:xfrm>
            <a:off x="250725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4" name="Picture Placeholder 13">
            <a:extLst>
              <a:ext uri="{FF2B5EF4-FFF2-40B4-BE49-F238E27FC236}">
                <a16:creationId xmlns:a16="http://schemas.microsoft.com/office/drawing/2014/main" xmlns="" id="{E8AD52CF-35EE-46A9-9AF7-3C8E62F00C5E}"/>
              </a:ext>
            </a:extLst>
          </p:cNvPr>
          <p:cNvSpPr>
            <a:spLocks noGrp="1"/>
          </p:cNvSpPr>
          <p:nvPr>
            <p:ph type="pic" sz="quarter" idx="47"/>
          </p:nvPr>
        </p:nvSpPr>
        <p:spPr>
          <a:xfrm>
            <a:off x="609809" y="1042622"/>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25" name="Picture Placeholder 24">
            <a:extLst>
              <a:ext uri="{FF2B5EF4-FFF2-40B4-BE49-F238E27FC236}">
                <a16:creationId xmlns:a16="http://schemas.microsoft.com/office/drawing/2014/main" xmlns="" id="{B6452AEF-FD37-454D-94D8-0E599F204357}"/>
              </a:ext>
            </a:extLst>
          </p:cNvPr>
          <p:cNvSpPr>
            <a:spLocks noGrp="1"/>
          </p:cNvSpPr>
          <p:nvPr>
            <p:ph type="pic" sz="quarter" idx="49"/>
          </p:nvPr>
        </p:nvSpPr>
        <p:spPr>
          <a:xfrm>
            <a:off x="4351373"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7" name="Picture Placeholder 26">
            <a:extLst>
              <a:ext uri="{FF2B5EF4-FFF2-40B4-BE49-F238E27FC236}">
                <a16:creationId xmlns:a16="http://schemas.microsoft.com/office/drawing/2014/main" xmlns="" id="{CC09DAEF-123F-478C-B480-278FA9721AA1}"/>
              </a:ext>
            </a:extLst>
          </p:cNvPr>
          <p:cNvSpPr>
            <a:spLocks noGrp="1"/>
          </p:cNvSpPr>
          <p:nvPr>
            <p:ph type="pic" sz="quarter" idx="51"/>
          </p:nvPr>
        </p:nvSpPr>
        <p:spPr>
          <a:xfrm>
            <a:off x="619548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6" name="Group 15">
            <a:extLst>
              <a:ext uri="{FF2B5EF4-FFF2-40B4-BE49-F238E27FC236}">
                <a16:creationId xmlns:a16="http://schemas.microsoft.com/office/drawing/2014/main" xmlns="" id="{70CD1520-B33C-4ABF-B07A-BAE51060DD06}"/>
              </a:ext>
            </a:extLst>
          </p:cNvPr>
          <p:cNvGrpSpPr/>
          <p:nvPr userDrawn="1"/>
        </p:nvGrpSpPr>
        <p:grpSpPr>
          <a:xfrm>
            <a:off x="155245" y="4010777"/>
            <a:ext cx="437727" cy="569144"/>
            <a:chOff x="494744" y="523692"/>
            <a:chExt cx="1225205" cy="1225205"/>
          </a:xfrm>
        </p:grpSpPr>
        <p:grpSp>
          <p:nvGrpSpPr>
            <p:cNvPr id="17" name="Group 16">
              <a:extLst>
                <a:ext uri="{FF2B5EF4-FFF2-40B4-BE49-F238E27FC236}">
                  <a16:creationId xmlns:a16="http://schemas.microsoft.com/office/drawing/2014/main" xmlns="" id="{712B4CEA-26FB-4CE0-AB75-25A5567082D4}"/>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18364386-BA71-4B38-8E70-F6D33FEADFF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B9E7EDD7-2689-4939-B80A-26341D508C6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FF5F0AE3-60F1-4362-9C32-B4289080B631}"/>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D882F46C-4608-417C-ACB8-753820CC2F8B}"/>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D4E245CE-0062-49C0-A8AA-0EC041F7984D}"/>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BF4CDD9C-CC66-4BAE-94B3-7465D16CD60B}"/>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9" name="Title 1">
            <a:extLst>
              <a:ext uri="{FF2B5EF4-FFF2-40B4-BE49-F238E27FC236}">
                <a16:creationId xmlns:a16="http://schemas.microsoft.com/office/drawing/2014/main" xmlns="" id="{B8AD666B-BF53-4637-9179-DB65CF19C723}"/>
              </a:ext>
            </a:extLst>
          </p:cNvPr>
          <p:cNvSpPr>
            <a:spLocks noGrp="1"/>
          </p:cNvSpPr>
          <p:nvPr>
            <p:ph type="title"/>
          </p:nvPr>
        </p:nvSpPr>
        <p:spPr>
          <a:xfrm>
            <a:off x="288517" y="4170399"/>
            <a:ext cx="308929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0446822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isyDeck Master - 36">
    <p:spTree>
      <p:nvGrpSpPr>
        <p:cNvPr id="1" name=""/>
        <p:cNvGrpSpPr/>
        <p:nvPr/>
      </p:nvGrpSpPr>
      <p:grpSpPr>
        <a:xfrm>
          <a:off x="0" y="0"/>
          <a:ext cx="0" cy="0"/>
          <a:chOff x="0" y="0"/>
          <a:chExt cx="0" cy="0"/>
        </a:xfrm>
      </p:grpSpPr>
      <p:sp>
        <p:nvSpPr>
          <p:cNvPr id="18" name="Picture Placeholder 17"/>
          <p:cNvSpPr>
            <a:spLocks noGrp="1" noChangeAspect="1"/>
          </p:cNvSpPr>
          <p:nvPr>
            <p:ph type="pic" sz="quarter" idx="10"/>
          </p:nvPr>
        </p:nvSpPr>
        <p:spPr>
          <a:xfrm>
            <a:off x="187389" y="157574"/>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0" lvl="0" algn="ctr" defTabSz="163358"/>
            <a:endParaRPr lang="en-GB" dirty="0"/>
          </a:p>
        </p:txBody>
      </p:sp>
      <p:sp>
        <p:nvSpPr>
          <p:cNvPr id="25" name="Picture Placeholder 24"/>
          <p:cNvSpPr>
            <a:spLocks noGrp="1" noChangeAspect="1"/>
          </p:cNvSpPr>
          <p:nvPr>
            <p:ph type="pic" sz="quarter" idx="12"/>
          </p:nvPr>
        </p:nvSpPr>
        <p:spPr>
          <a:xfrm>
            <a:off x="373461" y="175043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28" name="Picture Placeholder 27"/>
          <p:cNvSpPr>
            <a:spLocks noGrp="1" noChangeAspect="1"/>
          </p:cNvSpPr>
          <p:nvPr>
            <p:ph type="pic" sz="quarter" idx="13"/>
          </p:nvPr>
        </p:nvSpPr>
        <p:spPr>
          <a:xfrm>
            <a:off x="559532" y="334330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2" name="Footer Placeholder 1">
            <a:extLst>
              <a:ext uri="{FF2B5EF4-FFF2-40B4-BE49-F238E27FC236}">
                <a16:creationId xmlns:a16="http://schemas.microsoft.com/office/drawing/2014/main" xmlns="" id="{CA704C61-5FA2-4B58-8251-E2C05FEC42B4}"/>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155E03B7-9205-4BD3-B372-AD643C8C7C1B}"/>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0" name="Picture Placeholder 17">
            <a:extLst>
              <a:ext uri="{FF2B5EF4-FFF2-40B4-BE49-F238E27FC236}">
                <a16:creationId xmlns:a16="http://schemas.microsoft.com/office/drawing/2014/main" xmlns="" id="{6FEC2956-3360-4586-A462-C0D5B13F47B8}"/>
              </a:ext>
            </a:extLst>
          </p:cNvPr>
          <p:cNvSpPr>
            <a:spLocks noGrp="1" noChangeAspect="1"/>
          </p:cNvSpPr>
          <p:nvPr>
            <p:ph type="pic" sz="quarter" idx="18"/>
          </p:nvPr>
        </p:nvSpPr>
        <p:spPr>
          <a:xfrm>
            <a:off x="2314052" y="33552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11" name="Picture Placeholder 24">
            <a:extLst>
              <a:ext uri="{FF2B5EF4-FFF2-40B4-BE49-F238E27FC236}">
                <a16:creationId xmlns:a16="http://schemas.microsoft.com/office/drawing/2014/main" xmlns="" id="{5FC8C747-DEF4-421A-AB21-ED0BA2E7F168}"/>
              </a:ext>
            </a:extLst>
          </p:cNvPr>
          <p:cNvSpPr>
            <a:spLocks noGrp="1" noChangeAspect="1"/>
          </p:cNvSpPr>
          <p:nvPr>
            <p:ph type="pic" sz="quarter" idx="19"/>
          </p:nvPr>
        </p:nvSpPr>
        <p:spPr>
          <a:xfrm>
            <a:off x="2500124" y="1928383"/>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3" name="Picture Placeholder 24">
            <a:extLst>
              <a:ext uri="{FF2B5EF4-FFF2-40B4-BE49-F238E27FC236}">
                <a16:creationId xmlns:a16="http://schemas.microsoft.com/office/drawing/2014/main" xmlns="" id="{9FA2FDB1-ECD6-4AA5-AA14-9AECEC1548A5}"/>
              </a:ext>
            </a:extLst>
          </p:cNvPr>
          <p:cNvSpPr>
            <a:spLocks noGrp="1" noChangeAspect="1"/>
          </p:cNvSpPr>
          <p:nvPr>
            <p:ph type="pic" sz="quarter" idx="21"/>
          </p:nvPr>
        </p:nvSpPr>
        <p:spPr>
          <a:xfrm>
            <a:off x="4440715" y="48274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grpSp>
        <p:nvGrpSpPr>
          <p:cNvPr id="12" name="Group 11">
            <a:extLst>
              <a:ext uri="{FF2B5EF4-FFF2-40B4-BE49-F238E27FC236}">
                <a16:creationId xmlns:a16="http://schemas.microsoft.com/office/drawing/2014/main" xmlns="" id="{513BB073-C2D3-4BE3-A0B3-46CC11FA9215}"/>
              </a:ext>
            </a:extLst>
          </p:cNvPr>
          <p:cNvGrpSpPr/>
          <p:nvPr userDrawn="1"/>
        </p:nvGrpSpPr>
        <p:grpSpPr>
          <a:xfrm>
            <a:off x="4909384" y="2883271"/>
            <a:ext cx="437727" cy="569144"/>
            <a:chOff x="494744" y="523692"/>
            <a:chExt cx="1225205" cy="1225205"/>
          </a:xfrm>
        </p:grpSpPr>
        <p:grpSp>
          <p:nvGrpSpPr>
            <p:cNvPr id="14" name="Group 13">
              <a:extLst>
                <a:ext uri="{FF2B5EF4-FFF2-40B4-BE49-F238E27FC236}">
                  <a16:creationId xmlns:a16="http://schemas.microsoft.com/office/drawing/2014/main" xmlns="" id="{369792F9-D77E-4049-8486-1EB93CF3023E}"/>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xmlns="" id="{E435CEBA-CD54-46A5-8B4D-B93778400BEA}"/>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31D3253C-88D2-447C-A645-173274761D2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5C4358E7-B6BF-4A65-B216-3D7FE39DBE1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D777952F-BA88-48EC-9272-397831C48C13}"/>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B5E4D4B4-FBFE-4FB7-802D-1021E5F227F1}"/>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35469B75-FF80-4AF1-86AE-B1F10FEDFB83}"/>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FAE07E3A-03CD-439F-8DEB-8318BE08E46D}"/>
              </a:ext>
            </a:extLst>
          </p:cNvPr>
          <p:cNvSpPr>
            <a:spLocks noGrp="1"/>
          </p:cNvSpPr>
          <p:nvPr>
            <p:ph type="title"/>
          </p:nvPr>
        </p:nvSpPr>
        <p:spPr>
          <a:xfrm>
            <a:off x="5042657" y="3042893"/>
            <a:ext cx="304697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5213031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isyDeck Master - 37">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xmlns="" id="{354A14D0-2967-459A-BD7E-63536DE8431A}"/>
              </a:ext>
            </a:extLst>
          </p:cNvPr>
          <p:cNvSpPr>
            <a:spLocks noGrp="1" noChangeAspect="1"/>
          </p:cNvSpPr>
          <p:nvPr>
            <p:ph type="pic" sz="quarter" idx="14"/>
          </p:nvPr>
        </p:nvSpPr>
        <p:spPr>
          <a:xfrm>
            <a:off x="602392" y="3627440"/>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xmlns="" id="{2B6484C3-2EC7-4B28-AF74-0991857DC9A6}"/>
              </a:ext>
            </a:extLst>
          </p:cNvPr>
          <p:cNvSpPr>
            <a:spLocks noGrp="1" noChangeAspect="1"/>
          </p:cNvSpPr>
          <p:nvPr>
            <p:ph type="pic" sz="quarter" idx="13"/>
          </p:nvPr>
        </p:nvSpPr>
        <p:spPr>
          <a:xfrm>
            <a:off x="1194911" y="197614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2" name="Picture Placeholder 11">
            <a:extLst>
              <a:ext uri="{FF2B5EF4-FFF2-40B4-BE49-F238E27FC236}">
                <a16:creationId xmlns:a16="http://schemas.microsoft.com/office/drawing/2014/main" xmlns="" id="{E027EC7D-587B-4625-9CC9-56A73BD4B0CC}"/>
              </a:ext>
            </a:extLst>
          </p:cNvPr>
          <p:cNvSpPr>
            <a:spLocks noGrp="1" noChangeAspect="1"/>
          </p:cNvSpPr>
          <p:nvPr>
            <p:ph type="pic" sz="quarter" idx="12"/>
          </p:nvPr>
        </p:nvSpPr>
        <p:spPr>
          <a:xfrm>
            <a:off x="1787431" y="324854"/>
            <a:ext cx="2743821"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xmlns="" id="{A9D838BF-DE2B-42D1-ACD9-7A19168F01F7}"/>
              </a:ext>
            </a:extLst>
          </p:cNvPr>
          <p:cNvGrpSpPr/>
          <p:nvPr userDrawn="1"/>
        </p:nvGrpSpPr>
        <p:grpSpPr>
          <a:xfrm>
            <a:off x="4844458" y="216759"/>
            <a:ext cx="437727" cy="569144"/>
            <a:chOff x="494744" y="523692"/>
            <a:chExt cx="1225205" cy="1225205"/>
          </a:xfrm>
        </p:grpSpPr>
        <p:grpSp>
          <p:nvGrpSpPr>
            <p:cNvPr id="8" name="Group 7">
              <a:extLst>
                <a:ext uri="{FF2B5EF4-FFF2-40B4-BE49-F238E27FC236}">
                  <a16:creationId xmlns:a16="http://schemas.microsoft.com/office/drawing/2014/main" xmlns="" id="{D3306514-C617-4E07-A7EE-C90EAAF6E05B}"/>
                </a:ext>
              </a:extLst>
            </p:cNvPr>
            <p:cNvGrpSpPr>
              <a:grpSpLocks noChangeAspect="1"/>
            </p:cNvGrpSpPr>
            <p:nvPr userDrawn="1"/>
          </p:nvGrpSpPr>
          <p:grpSpPr>
            <a:xfrm rot="18900000">
              <a:off x="707305" y="869222"/>
              <a:ext cx="471488" cy="153360"/>
              <a:chOff x="11661248" y="7789719"/>
              <a:chExt cx="1293156" cy="420621"/>
            </a:xfrm>
          </p:grpSpPr>
          <p:cxnSp>
            <p:nvCxnSpPr>
              <p:cNvPr id="13" name="Straight Connector 12">
                <a:extLst>
                  <a:ext uri="{FF2B5EF4-FFF2-40B4-BE49-F238E27FC236}">
                    <a16:creationId xmlns:a16="http://schemas.microsoft.com/office/drawing/2014/main" xmlns="" id="{3791B171-EA4B-4646-926B-379B62583FD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1387CC49-8BC8-4238-A5BC-1781122705A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BEF0A279-6806-4DE6-A893-A1F1C36A7DC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C5C01630-2633-4D7E-B5F1-40C5447076CF}"/>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8244FC81-E68D-4C5B-9976-DCCA0EF3110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15153171-9B2A-4833-ADAA-045955CC25BE}"/>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7" name="Title 1">
            <a:extLst>
              <a:ext uri="{FF2B5EF4-FFF2-40B4-BE49-F238E27FC236}">
                <a16:creationId xmlns:a16="http://schemas.microsoft.com/office/drawing/2014/main" xmlns="" id="{C6755A9C-D5E0-4890-A726-5EA161FEF9A2}"/>
              </a:ext>
            </a:extLst>
          </p:cNvPr>
          <p:cNvSpPr>
            <a:spLocks noGrp="1"/>
          </p:cNvSpPr>
          <p:nvPr>
            <p:ph type="title"/>
          </p:nvPr>
        </p:nvSpPr>
        <p:spPr>
          <a:xfrm>
            <a:off x="4977731" y="376381"/>
            <a:ext cx="3413927"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95890969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isyDeck Master - 38">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xmlns="" id="{354A14D0-2967-459A-BD7E-63536DE8431A}"/>
              </a:ext>
            </a:extLst>
          </p:cNvPr>
          <p:cNvSpPr>
            <a:spLocks noGrp="1"/>
          </p:cNvSpPr>
          <p:nvPr>
            <p:ph type="pic" sz="quarter" idx="14"/>
          </p:nvPr>
        </p:nvSpPr>
        <p:spPr>
          <a:xfrm>
            <a:off x="80510" y="360553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xmlns="" id="{2B6484C3-2EC7-4B28-AF74-0991857DC9A6}"/>
              </a:ext>
            </a:extLst>
          </p:cNvPr>
          <p:cNvSpPr>
            <a:spLocks noGrp="1"/>
          </p:cNvSpPr>
          <p:nvPr>
            <p:ph type="pic" sz="quarter" idx="13"/>
          </p:nvPr>
        </p:nvSpPr>
        <p:spPr>
          <a:xfrm>
            <a:off x="80510" y="185502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20" name="Picture Placeholder 19">
            <a:extLst>
              <a:ext uri="{FF2B5EF4-FFF2-40B4-BE49-F238E27FC236}">
                <a16:creationId xmlns:a16="http://schemas.microsoft.com/office/drawing/2014/main" xmlns="" id="{A52E9C9B-DF76-45D1-9FC3-C2565FB7375A}"/>
              </a:ext>
            </a:extLst>
          </p:cNvPr>
          <p:cNvSpPr>
            <a:spLocks noGrp="1"/>
          </p:cNvSpPr>
          <p:nvPr>
            <p:ph type="pic" sz="quarter" idx="15"/>
          </p:nvPr>
        </p:nvSpPr>
        <p:spPr>
          <a:xfrm>
            <a:off x="80510" y="10451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Font typeface="Arial" panose="020B0604020202020204" pitchFamily="34" charset="0"/>
              <a:buNone/>
              <a:defRPr lang="en-GB" sz="1000"/>
            </a:lvl1pPr>
          </a:lstStyle>
          <a:p>
            <a:pPr marL="245061" lvl="0" indent="-245061"/>
            <a:endParaRPr lang="en-GB" dirty="0"/>
          </a:p>
        </p:txBody>
      </p:sp>
      <p:sp>
        <p:nvSpPr>
          <p:cNvPr id="9" name="Picture Placeholder 17">
            <a:extLst>
              <a:ext uri="{FF2B5EF4-FFF2-40B4-BE49-F238E27FC236}">
                <a16:creationId xmlns:a16="http://schemas.microsoft.com/office/drawing/2014/main" xmlns="" id="{AD6A155A-6F5E-44DE-B0AE-A17180CAC53B}"/>
              </a:ext>
            </a:extLst>
          </p:cNvPr>
          <p:cNvSpPr>
            <a:spLocks noGrp="1"/>
          </p:cNvSpPr>
          <p:nvPr>
            <p:ph type="pic" sz="quarter" idx="16"/>
          </p:nvPr>
        </p:nvSpPr>
        <p:spPr>
          <a:xfrm>
            <a:off x="2482614" y="395404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0" name="Picture Placeholder 14">
            <a:extLst>
              <a:ext uri="{FF2B5EF4-FFF2-40B4-BE49-F238E27FC236}">
                <a16:creationId xmlns:a16="http://schemas.microsoft.com/office/drawing/2014/main" xmlns="" id="{8356FBF5-B92D-48D4-8AF2-9412C6AE9A29}"/>
              </a:ext>
            </a:extLst>
          </p:cNvPr>
          <p:cNvSpPr>
            <a:spLocks noGrp="1"/>
          </p:cNvSpPr>
          <p:nvPr>
            <p:ph type="pic" sz="quarter" idx="17"/>
          </p:nvPr>
        </p:nvSpPr>
        <p:spPr>
          <a:xfrm>
            <a:off x="2482614" y="220353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1" name="Picture Placeholder 19">
            <a:extLst>
              <a:ext uri="{FF2B5EF4-FFF2-40B4-BE49-F238E27FC236}">
                <a16:creationId xmlns:a16="http://schemas.microsoft.com/office/drawing/2014/main" xmlns="" id="{BFCBE037-E834-4054-9F74-D8464FA3E2D2}"/>
              </a:ext>
            </a:extLst>
          </p:cNvPr>
          <p:cNvSpPr>
            <a:spLocks noGrp="1"/>
          </p:cNvSpPr>
          <p:nvPr>
            <p:ph type="pic" sz="quarter" idx="18"/>
          </p:nvPr>
        </p:nvSpPr>
        <p:spPr>
          <a:xfrm>
            <a:off x="2482614" y="45302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13" name="Group 12">
            <a:extLst>
              <a:ext uri="{FF2B5EF4-FFF2-40B4-BE49-F238E27FC236}">
                <a16:creationId xmlns:a16="http://schemas.microsoft.com/office/drawing/2014/main" xmlns="" id="{241CDF08-7E4B-40AD-BAC5-64D6CB8B93D2}"/>
              </a:ext>
            </a:extLst>
          </p:cNvPr>
          <p:cNvGrpSpPr/>
          <p:nvPr userDrawn="1"/>
        </p:nvGrpSpPr>
        <p:grpSpPr>
          <a:xfrm>
            <a:off x="5439610" y="337018"/>
            <a:ext cx="437727" cy="569144"/>
            <a:chOff x="494744" y="523692"/>
            <a:chExt cx="1225205" cy="1225205"/>
          </a:xfrm>
        </p:grpSpPr>
        <p:grpSp>
          <p:nvGrpSpPr>
            <p:cNvPr id="14" name="Group 13">
              <a:extLst>
                <a:ext uri="{FF2B5EF4-FFF2-40B4-BE49-F238E27FC236}">
                  <a16:creationId xmlns:a16="http://schemas.microsoft.com/office/drawing/2014/main" xmlns="" id="{A4D12FA9-F2CB-46FF-8592-43979AAB085F}"/>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3123B59E-9DBE-4A7D-A254-478C0054FE4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5B9020BC-17B0-41A4-A7CA-F658103B9725}"/>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000842F1-9891-4BB3-BE01-A2C0044B45DB}"/>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xmlns="" id="{ED194DED-1DD5-4A06-A7CD-4C533C821292}"/>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xmlns="" id="{BC62BC69-8800-4CB1-8E4A-2AD84D3D42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81E0B9B9-672E-41A0-9385-62526914C6B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484EA4E0-4ED9-49FE-9E2B-E4770C779EED}"/>
              </a:ext>
            </a:extLst>
          </p:cNvPr>
          <p:cNvSpPr>
            <a:spLocks noGrp="1"/>
          </p:cNvSpPr>
          <p:nvPr>
            <p:ph type="title"/>
          </p:nvPr>
        </p:nvSpPr>
        <p:spPr>
          <a:xfrm>
            <a:off x="5572882" y="496640"/>
            <a:ext cx="28187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8540137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9968" y="338644"/>
            <a:ext cx="7514575" cy="1232078"/>
          </a:xfrm>
        </p:spPr>
        <p:txBody>
          <a:bodyPr/>
          <a:lstStyle/>
          <a:p>
            <a:r>
              <a:rPr lang="en-US"/>
              <a:t>Click to edit Master title style</a:t>
            </a:r>
            <a:endParaRPr lang="en-ZA"/>
          </a:p>
        </p:txBody>
      </p:sp>
      <p:sp>
        <p:nvSpPr>
          <p:cNvPr id="3" name="Text Placeholder 2"/>
          <p:cNvSpPr>
            <a:spLocks noGrp="1"/>
          </p:cNvSpPr>
          <p:nvPr>
            <p:ph type="body" idx="1"/>
          </p:nvPr>
        </p:nvSpPr>
        <p:spPr>
          <a:xfrm>
            <a:off x="599966" y="1562076"/>
            <a:ext cx="3686331"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4" name="Content Placeholder 3"/>
          <p:cNvSpPr>
            <a:spLocks noGrp="1"/>
          </p:cNvSpPr>
          <p:nvPr>
            <p:ph sz="half" idx="2"/>
          </p:nvPr>
        </p:nvSpPr>
        <p:spPr>
          <a:xfrm>
            <a:off x="599966" y="2327262"/>
            <a:ext cx="3686331"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410906" y="1562076"/>
            <a:ext cx="3703637"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6" name="Content Placeholder 5"/>
          <p:cNvSpPr>
            <a:spLocks noGrp="1"/>
          </p:cNvSpPr>
          <p:nvPr>
            <p:ph sz="quarter" idx="4"/>
          </p:nvPr>
        </p:nvSpPr>
        <p:spPr>
          <a:xfrm>
            <a:off x="4410906" y="2327262"/>
            <a:ext cx="3703637"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70995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isyDeck Master - 39">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D8756BF8-37D1-4EA7-B74D-52A96C58EBFF}"/>
              </a:ext>
            </a:extLst>
          </p:cNvPr>
          <p:cNvSpPr>
            <a:spLocks noGrp="1"/>
          </p:cNvSpPr>
          <p:nvPr userDrawn="1">
            <p:ph type="pic" sz="quarter" idx="12"/>
          </p:nvPr>
        </p:nvSpPr>
        <p:spPr>
          <a:xfrm>
            <a:off x="1636918" y="534887"/>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17500" dir="13500000" sy="23000" kx="1200000" algn="br" rotWithShape="0">
              <a:prstClr val="black">
                <a:alpha val="12000"/>
              </a:prstClr>
            </a:outerShdw>
          </a:effectLst>
          <a:scene3d>
            <a:camera prst="perspectiveRight">
              <a:rot lat="0" lon="19800000" rev="0"/>
            </a:camera>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16">
            <a:extLst>
              <a:ext uri="{FF2B5EF4-FFF2-40B4-BE49-F238E27FC236}">
                <a16:creationId xmlns:a16="http://schemas.microsoft.com/office/drawing/2014/main" xmlns="" id="{C877771D-C042-452F-A212-F3F8274CCEF5}"/>
              </a:ext>
            </a:extLst>
          </p:cNvPr>
          <p:cNvSpPr>
            <a:spLocks noGrp="1"/>
          </p:cNvSpPr>
          <p:nvPr>
            <p:ph type="pic" sz="quarter" idx="13"/>
          </p:nvPr>
        </p:nvSpPr>
        <p:spPr>
          <a:xfrm>
            <a:off x="3449706" y="260040"/>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04800" dist="38100" dir="5400000" algn="t" rotWithShape="0">
              <a:prstClr val="black">
                <a:alpha val="40000"/>
              </a:prstClr>
            </a:outerShdw>
          </a:effectLst>
          <a:scene3d>
            <a:camera prst="orthographicFront"/>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20" name="Picture Placeholder 19">
            <a:extLst>
              <a:ext uri="{FF2B5EF4-FFF2-40B4-BE49-F238E27FC236}">
                <a16:creationId xmlns:a16="http://schemas.microsoft.com/office/drawing/2014/main" xmlns="" id="{AB41FBEB-6A9D-49E4-B3DA-600393DFBBA4}"/>
              </a:ext>
            </a:extLst>
          </p:cNvPr>
          <p:cNvSpPr>
            <a:spLocks noGrp="1"/>
          </p:cNvSpPr>
          <p:nvPr>
            <p:ph type="pic" sz="quarter" idx="14"/>
          </p:nvPr>
        </p:nvSpPr>
        <p:spPr>
          <a:xfrm>
            <a:off x="5262494" y="534887"/>
            <a:ext cx="1812788" cy="3997796"/>
          </a:xfrm>
          <a:custGeom>
            <a:avLst/>
            <a:gdLst>
              <a:gd name="connsiteX0" fmla="*/ 0 w 5074022"/>
              <a:gd name="connsiteY0" fmla="*/ 0 h 8606118"/>
              <a:gd name="connsiteX1" fmla="*/ 5074022 w 5074022"/>
              <a:gd name="connsiteY1" fmla="*/ 0 h 8606118"/>
              <a:gd name="connsiteX2" fmla="*/ 5074022 w 5074022"/>
              <a:gd name="connsiteY2" fmla="*/ 8606118 h 8606118"/>
              <a:gd name="connsiteX3" fmla="*/ 0 w 5074022"/>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2" h="8606118">
                <a:moveTo>
                  <a:pt x="0" y="0"/>
                </a:moveTo>
                <a:lnTo>
                  <a:pt x="5074022" y="0"/>
                </a:lnTo>
                <a:lnTo>
                  <a:pt x="5074022" y="8606118"/>
                </a:lnTo>
                <a:lnTo>
                  <a:pt x="0" y="8606118"/>
                </a:lnTo>
                <a:close/>
              </a:path>
            </a:pathLst>
          </a:custGeom>
          <a:pattFill prst="pct75">
            <a:fgClr>
              <a:schemeClr val="bg2"/>
            </a:fgClr>
            <a:bgClr>
              <a:schemeClr val="bg1"/>
            </a:bgClr>
          </a:pattFill>
          <a:effectLst>
            <a:outerShdw blurRad="317500" dir="18900000" sy="23000" kx="-1200000" algn="bl" rotWithShape="0">
              <a:prstClr val="black">
                <a:alpha val="12000"/>
              </a:prstClr>
            </a:outerShdw>
          </a:effectLst>
          <a:scene3d>
            <a:camera prst="perspectiveRight" fov="2700000">
              <a:rot lat="0" lon="1800000" rev="0"/>
            </a:camera>
            <a:lightRig rig="soft" dir="t"/>
          </a:scene3d>
          <a:sp3d extrusionH="381000"/>
        </p:spPr>
        <p:txBody>
          <a:bodyPr wrap="square" lIns="180000" tIns="93600" rIns="180000" bIns="93600">
            <a:noAutofit/>
          </a:bodyPr>
          <a:lstStyle>
            <a:lvl1pPr marL="0" indent="0" algn="l">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xmlns="" id="{9349A854-6D2D-46A3-97E6-A5BA8AC4FD21}"/>
              </a:ext>
            </a:extLst>
          </p:cNvPr>
          <p:cNvGrpSpPr/>
          <p:nvPr userDrawn="1"/>
        </p:nvGrpSpPr>
        <p:grpSpPr>
          <a:xfrm>
            <a:off x="155245" y="4590838"/>
            <a:ext cx="437727" cy="569144"/>
            <a:chOff x="494744" y="523692"/>
            <a:chExt cx="1225205" cy="1225205"/>
          </a:xfrm>
        </p:grpSpPr>
        <p:grpSp>
          <p:nvGrpSpPr>
            <p:cNvPr id="8" name="Group 7">
              <a:extLst>
                <a:ext uri="{FF2B5EF4-FFF2-40B4-BE49-F238E27FC236}">
                  <a16:creationId xmlns:a16="http://schemas.microsoft.com/office/drawing/2014/main" xmlns="" id="{2C2D0CA6-5F37-4841-A757-38F0A8998B45}"/>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xmlns="" id="{7D180E46-879B-4C43-8946-6BD2EDC75BE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501241CE-E689-4186-A3E0-3A4035C71A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A4EA40DD-6EE5-4DAE-ADD0-8EC9ED2AD16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68B95E28-65D9-4B32-AAB8-59EF072D575E}"/>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7E987659-61E2-4E35-A859-0C1BD65D487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2623D26E-2222-4F26-ABEB-3269DA339E9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6" name="Title 1">
            <a:extLst>
              <a:ext uri="{FF2B5EF4-FFF2-40B4-BE49-F238E27FC236}">
                <a16:creationId xmlns:a16="http://schemas.microsoft.com/office/drawing/2014/main" xmlns="" id="{558EC753-1456-4F1A-974C-C793FFF53C16}"/>
              </a:ext>
            </a:extLst>
          </p:cNvPr>
          <p:cNvSpPr>
            <a:spLocks noGrp="1"/>
          </p:cNvSpPr>
          <p:nvPr>
            <p:ph type="title"/>
          </p:nvPr>
        </p:nvSpPr>
        <p:spPr>
          <a:xfrm>
            <a:off x="288517" y="4750460"/>
            <a:ext cx="3161189"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6371724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isyDeck Master - 40">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xmlns="" id="{78A3B93E-DDF6-4982-BF66-F57736E372B5}"/>
              </a:ext>
            </a:extLst>
          </p:cNvPr>
          <p:cNvSpPr>
            <a:spLocks noGrp="1"/>
          </p:cNvSpPr>
          <p:nvPr>
            <p:ph type="pic" sz="quarter" idx="14"/>
          </p:nvPr>
        </p:nvSpPr>
        <p:spPr>
          <a:xfrm>
            <a:off x="4675123" y="83507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6" name="Picture Placeholder 15">
            <a:extLst>
              <a:ext uri="{FF2B5EF4-FFF2-40B4-BE49-F238E27FC236}">
                <a16:creationId xmlns:a16="http://schemas.microsoft.com/office/drawing/2014/main" xmlns="" id="{4BD217BC-9140-40F0-8620-46A88D9A4209}"/>
              </a:ext>
            </a:extLst>
          </p:cNvPr>
          <p:cNvSpPr>
            <a:spLocks noGrp="1"/>
          </p:cNvSpPr>
          <p:nvPr>
            <p:ph type="pic" sz="quarter" idx="13"/>
          </p:nvPr>
        </p:nvSpPr>
        <p:spPr>
          <a:xfrm>
            <a:off x="4816047" y="294983"/>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5" name="Picture Placeholder 14">
            <a:extLst>
              <a:ext uri="{FF2B5EF4-FFF2-40B4-BE49-F238E27FC236}">
                <a16:creationId xmlns:a16="http://schemas.microsoft.com/office/drawing/2014/main" xmlns="" id="{F326C0B2-1ADF-4099-A8CB-D990D2579FE0}"/>
              </a:ext>
            </a:extLst>
          </p:cNvPr>
          <p:cNvSpPr>
            <a:spLocks noGrp="1"/>
          </p:cNvSpPr>
          <p:nvPr>
            <p:ph type="pic" sz="quarter" idx="12"/>
          </p:nvPr>
        </p:nvSpPr>
        <p:spPr>
          <a:xfrm>
            <a:off x="4956970" y="-14259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xmlns=""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xmlns=""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xmlns=""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xmlns=""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xmlns=""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xmlns=""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01091135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isyDeck Master - 41">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xmlns="" id="{78A3B93E-DDF6-4982-BF66-F57736E372B5}"/>
              </a:ext>
            </a:extLst>
          </p:cNvPr>
          <p:cNvSpPr>
            <a:spLocks noGrp="1"/>
          </p:cNvSpPr>
          <p:nvPr>
            <p:ph type="pic" sz="quarter" idx="14"/>
          </p:nvPr>
        </p:nvSpPr>
        <p:spPr>
          <a:xfrm>
            <a:off x="4711096" y="156910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r="10800000" sx="104000" sy="104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6" name="Picture Placeholder 15">
            <a:extLst>
              <a:ext uri="{FF2B5EF4-FFF2-40B4-BE49-F238E27FC236}">
                <a16:creationId xmlns:a16="http://schemas.microsoft.com/office/drawing/2014/main" xmlns="" id="{4BD217BC-9140-40F0-8620-46A88D9A4209}"/>
              </a:ext>
            </a:extLst>
          </p:cNvPr>
          <p:cNvSpPr>
            <a:spLocks noGrp="1"/>
          </p:cNvSpPr>
          <p:nvPr>
            <p:ph type="pic" sz="quarter" idx="13"/>
          </p:nvPr>
        </p:nvSpPr>
        <p:spPr>
          <a:xfrm>
            <a:off x="4711096" y="1109375"/>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3" lon="18599998"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5" name="Picture Placeholder 14">
            <a:extLst>
              <a:ext uri="{FF2B5EF4-FFF2-40B4-BE49-F238E27FC236}">
                <a16:creationId xmlns:a16="http://schemas.microsoft.com/office/drawing/2014/main" xmlns="" id="{F326C0B2-1ADF-4099-A8CB-D990D2579FE0}"/>
              </a:ext>
            </a:extLst>
          </p:cNvPr>
          <p:cNvSpPr>
            <a:spLocks noGrp="1"/>
          </p:cNvSpPr>
          <p:nvPr>
            <p:ph type="pic" sz="quarter" idx="12"/>
          </p:nvPr>
        </p:nvSpPr>
        <p:spPr>
          <a:xfrm>
            <a:off x="5100600" y="14317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20099994" lon="19799999" rev="2400000"/>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xmlns=""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xmlns=""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xmlns=""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xmlns=""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xmlns=""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xmlns=""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61004490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isyDeck Master - 42">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7" name="Picture Placeholder 26">
            <a:extLst>
              <a:ext uri="{FF2B5EF4-FFF2-40B4-BE49-F238E27FC236}">
                <a16:creationId xmlns:a16="http://schemas.microsoft.com/office/drawing/2014/main" xmlns="" id="{3BE1A260-396B-46E4-BF1B-622EDEFC70D3}"/>
              </a:ext>
            </a:extLst>
          </p:cNvPr>
          <p:cNvSpPr>
            <a:spLocks noGrp="1"/>
          </p:cNvSpPr>
          <p:nvPr>
            <p:ph type="pic" sz="quarter" idx="15"/>
          </p:nvPr>
        </p:nvSpPr>
        <p:spPr>
          <a:xfrm>
            <a:off x="503986" y="2066524"/>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28" name="Picture Placeholder 27">
            <a:extLst>
              <a:ext uri="{FF2B5EF4-FFF2-40B4-BE49-F238E27FC236}">
                <a16:creationId xmlns:a16="http://schemas.microsoft.com/office/drawing/2014/main" xmlns="" id="{8BC96D7D-D52F-4FCD-A24B-1D84B6F0F5C4}"/>
              </a:ext>
            </a:extLst>
          </p:cNvPr>
          <p:cNvSpPr>
            <a:spLocks noGrp="1"/>
          </p:cNvSpPr>
          <p:nvPr>
            <p:ph type="pic" sz="quarter" idx="16"/>
          </p:nvPr>
        </p:nvSpPr>
        <p:spPr>
          <a:xfrm>
            <a:off x="503986" y="176226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30" name="Picture Placeholder 29">
            <a:extLst>
              <a:ext uri="{FF2B5EF4-FFF2-40B4-BE49-F238E27FC236}">
                <a16:creationId xmlns:a16="http://schemas.microsoft.com/office/drawing/2014/main" xmlns="" id="{B18177F5-3885-475D-8D8A-8E87590C13BB}"/>
              </a:ext>
            </a:extLst>
          </p:cNvPr>
          <p:cNvSpPr>
            <a:spLocks noGrp="1"/>
          </p:cNvSpPr>
          <p:nvPr>
            <p:ph type="pic" sz="quarter" idx="18"/>
          </p:nvPr>
        </p:nvSpPr>
        <p:spPr>
          <a:xfrm>
            <a:off x="503986" y="145800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31" name="Title 1">
            <a:extLst>
              <a:ext uri="{FF2B5EF4-FFF2-40B4-BE49-F238E27FC236}">
                <a16:creationId xmlns:a16="http://schemas.microsoft.com/office/drawing/2014/main" xmlns="" id="{1101CB87-7AFA-45D1-A099-7FF6E7A1BD31}"/>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32" name="Group 31">
            <a:extLst>
              <a:ext uri="{FF2B5EF4-FFF2-40B4-BE49-F238E27FC236}">
                <a16:creationId xmlns:a16="http://schemas.microsoft.com/office/drawing/2014/main" xmlns="" id="{CAE58B50-26F2-485E-960C-0949E9AF2030}"/>
              </a:ext>
            </a:extLst>
          </p:cNvPr>
          <p:cNvGrpSpPr/>
          <p:nvPr userDrawn="1"/>
        </p:nvGrpSpPr>
        <p:grpSpPr>
          <a:xfrm>
            <a:off x="155245" y="216759"/>
            <a:ext cx="437727" cy="569144"/>
            <a:chOff x="434532" y="466621"/>
            <a:chExt cx="1225205" cy="1225205"/>
          </a:xfrm>
        </p:grpSpPr>
        <p:grpSp>
          <p:nvGrpSpPr>
            <p:cNvPr id="33" name="Group 32">
              <a:extLst>
                <a:ext uri="{FF2B5EF4-FFF2-40B4-BE49-F238E27FC236}">
                  <a16:creationId xmlns:a16="http://schemas.microsoft.com/office/drawing/2014/main" xmlns="" id="{167AE67E-DF7E-4927-B5DE-5878BDD9A157}"/>
                </a:ext>
              </a:extLst>
            </p:cNvPr>
            <p:cNvGrpSpPr>
              <a:grpSpLocks noChangeAspect="1"/>
            </p:cNvGrpSpPr>
            <p:nvPr userDrawn="1"/>
          </p:nvGrpSpPr>
          <p:grpSpPr>
            <a:xfrm rot="18900000">
              <a:off x="647093" y="812151"/>
              <a:ext cx="471488" cy="153360"/>
              <a:chOff x="11661248" y="7789719"/>
              <a:chExt cx="1293156" cy="420621"/>
            </a:xfrm>
          </p:grpSpPr>
          <p:cxnSp>
            <p:nvCxnSpPr>
              <p:cNvPr id="37" name="Straight Connector 36">
                <a:extLst>
                  <a:ext uri="{FF2B5EF4-FFF2-40B4-BE49-F238E27FC236}">
                    <a16:creationId xmlns:a16="http://schemas.microsoft.com/office/drawing/2014/main" xmlns="" id="{13AD869A-9828-4D50-9EE3-E87AAF509D0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9C3CB3D3-D0E6-4733-900A-F45DEADC09B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37482D56-A4DA-40B8-9853-96D89363B83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2F89F055-0276-43EF-B696-91F658FDAF0C}"/>
                </a:ext>
              </a:extLst>
            </p:cNvPr>
            <p:cNvGrpSpPr/>
            <p:nvPr userDrawn="1"/>
          </p:nvGrpSpPr>
          <p:grpSpPr>
            <a:xfrm>
              <a:off x="434532" y="466621"/>
              <a:ext cx="1225205" cy="1225205"/>
              <a:chOff x="12636425" y="442230"/>
              <a:chExt cx="1860336" cy="1860336"/>
            </a:xfrm>
          </p:grpSpPr>
          <p:cxnSp>
            <p:nvCxnSpPr>
              <p:cNvPr id="35" name="Straight Connector 34">
                <a:extLst>
                  <a:ext uri="{FF2B5EF4-FFF2-40B4-BE49-F238E27FC236}">
                    <a16:creationId xmlns:a16="http://schemas.microsoft.com/office/drawing/2014/main" xmlns="" id="{41CAB21F-7883-4433-AD02-80A0B664D71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4B70F784-9980-4E24-92DE-B90F437AC9B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24510580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isyDeck Master - 43">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xmlns="" id="{5F796D56-22D1-4342-A416-EE91F64155B4}"/>
              </a:ext>
            </a:extLst>
          </p:cNvPr>
          <p:cNvSpPr>
            <a:spLocks noGrp="1"/>
          </p:cNvSpPr>
          <p:nvPr>
            <p:ph type="pic" sz="quarter" idx="18"/>
          </p:nvPr>
        </p:nvSpPr>
        <p:spPr>
          <a:xfrm>
            <a:off x="454270" y="376381"/>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6" name="Picture Placeholder 26">
            <a:extLst>
              <a:ext uri="{FF2B5EF4-FFF2-40B4-BE49-F238E27FC236}">
                <a16:creationId xmlns:a16="http://schemas.microsoft.com/office/drawing/2014/main" xmlns="" id="{B39F597E-B93C-4EB2-8A00-9807777BB2CE}"/>
              </a:ext>
            </a:extLst>
          </p:cNvPr>
          <p:cNvSpPr>
            <a:spLocks noGrp="1"/>
          </p:cNvSpPr>
          <p:nvPr>
            <p:ph type="pic" sz="quarter" idx="15"/>
          </p:nvPr>
        </p:nvSpPr>
        <p:spPr>
          <a:xfrm>
            <a:off x="454270" y="28518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7" name="Picture Placeholder 27">
            <a:extLst>
              <a:ext uri="{FF2B5EF4-FFF2-40B4-BE49-F238E27FC236}">
                <a16:creationId xmlns:a16="http://schemas.microsoft.com/office/drawing/2014/main" xmlns="" id="{B600CC46-3364-4A7D-A016-D399C951FC36}"/>
              </a:ext>
            </a:extLst>
          </p:cNvPr>
          <p:cNvSpPr>
            <a:spLocks noGrp="1"/>
          </p:cNvSpPr>
          <p:nvPr>
            <p:ph type="pic" sz="quarter" idx="16"/>
          </p:nvPr>
        </p:nvSpPr>
        <p:spPr>
          <a:xfrm>
            <a:off x="454270" y="1614100"/>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7" name="Group 6">
            <a:extLst>
              <a:ext uri="{FF2B5EF4-FFF2-40B4-BE49-F238E27FC236}">
                <a16:creationId xmlns:a16="http://schemas.microsoft.com/office/drawing/2014/main" xmlns="" id="{DCCD4EB3-D7F4-437B-91F3-A3E8A5E21FB8}"/>
              </a:ext>
            </a:extLst>
          </p:cNvPr>
          <p:cNvGrpSpPr/>
          <p:nvPr userDrawn="1"/>
        </p:nvGrpSpPr>
        <p:grpSpPr>
          <a:xfrm>
            <a:off x="5017831" y="568788"/>
            <a:ext cx="437727" cy="569144"/>
            <a:chOff x="494744" y="523692"/>
            <a:chExt cx="1225205" cy="1225205"/>
          </a:xfrm>
        </p:grpSpPr>
        <p:grpSp>
          <p:nvGrpSpPr>
            <p:cNvPr id="8" name="Group 7">
              <a:extLst>
                <a:ext uri="{FF2B5EF4-FFF2-40B4-BE49-F238E27FC236}">
                  <a16:creationId xmlns:a16="http://schemas.microsoft.com/office/drawing/2014/main" xmlns="" id="{C71B4AE5-BDFC-4186-93AC-40CFE86974E8}"/>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xmlns="" id="{3C04EDCC-82A5-4290-B38F-66E2ABE706B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E41AA614-1009-4130-9E0D-F9CA38D9F6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DC6C5844-D253-44B9-AF20-C074DF6E2C26}"/>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8CA8A994-4384-4D04-97D0-D04BD6ADD84A}"/>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FF432F25-F188-4BB8-AF5E-F788DD6DE89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304B33C4-721B-4867-AD60-BD0B7E1CAA1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5" name="Title 1">
            <a:extLst>
              <a:ext uri="{FF2B5EF4-FFF2-40B4-BE49-F238E27FC236}">
                <a16:creationId xmlns:a16="http://schemas.microsoft.com/office/drawing/2014/main" xmlns="" id="{C5EE07F8-CF36-4EDC-A70F-8B7D2BD08B0D}"/>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60501561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isyDeck Master - 44">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xmlns="" id="{5F796D56-22D1-4342-A416-EE91F64155B4}"/>
              </a:ext>
            </a:extLst>
          </p:cNvPr>
          <p:cNvSpPr>
            <a:spLocks noGrp="1"/>
          </p:cNvSpPr>
          <p:nvPr>
            <p:ph type="pic" sz="quarter" idx="18"/>
          </p:nvPr>
        </p:nvSpPr>
        <p:spPr>
          <a:xfrm>
            <a:off x="726330" y="29083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27">
            <a:extLst>
              <a:ext uri="{FF2B5EF4-FFF2-40B4-BE49-F238E27FC236}">
                <a16:creationId xmlns:a16="http://schemas.microsoft.com/office/drawing/2014/main" xmlns="" id="{B600CC46-3364-4A7D-A016-D399C951FC36}"/>
              </a:ext>
            </a:extLst>
          </p:cNvPr>
          <p:cNvSpPr>
            <a:spLocks noGrp="1"/>
          </p:cNvSpPr>
          <p:nvPr>
            <p:ph type="pic" sz="quarter" idx="16"/>
          </p:nvPr>
        </p:nvSpPr>
        <p:spPr>
          <a:xfrm>
            <a:off x="-101458" y="1098766"/>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rot lat="2100000" lon="18883146" rev="0"/>
            </a:camera>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grpSp>
        <p:nvGrpSpPr>
          <p:cNvPr id="6" name="Group 5">
            <a:extLst>
              <a:ext uri="{FF2B5EF4-FFF2-40B4-BE49-F238E27FC236}">
                <a16:creationId xmlns:a16="http://schemas.microsoft.com/office/drawing/2014/main" xmlns="" id="{86BCCB8D-7434-46C5-85BA-081F7F806811}"/>
              </a:ext>
            </a:extLst>
          </p:cNvPr>
          <p:cNvGrpSpPr/>
          <p:nvPr userDrawn="1"/>
        </p:nvGrpSpPr>
        <p:grpSpPr>
          <a:xfrm>
            <a:off x="5017831" y="568788"/>
            <a:ext cx="437727" cy="569144"/>
            <a:chOff x="494744" y="523692"/>
            <a:chExt cx="1225205" cy="1225205"/>
          </a:xfrm>
        </p:grpSpPr>
        <p:grpSp>
          <p:nvGrpSpPr>
            <p:cNvPr id="7" name="Group 6">
              <a:extLst>
                <a:ext uri="{FF2B5EF4-FFF2-40B4-BE49-F238E27FC236}">
                  <a16:creationId xmlns:a16="http://schemas.microsoft.com/office/drawing/2014/main" xmlns="" id="{75BC6207-F7D8-498D-AB71-1C7AD6EC618C}"/>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xmlns="" id="{4990E647-D0CE-46FC-906D-5633FA5D992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FE506494-432E-4325-90FF-E82A5B16026A}"/>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7B98A41C-A300-4408-B213-D327C790EFE1}"/>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xmlns="" id="{514708B7-4431-456E-9FF4-40CD435B8A00}"/>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xmlns="" id="{FF79FE7F-1150-44DE-BE8E-DE37BBE233E1}"/>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0D917900-5012-462A-8C4C-2526F849E19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xmlns="" id="{21AD6131-E44C-4BDF-91D7-CC6B3AC3945F}"/>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87824326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isyDeck Master - 45">
    <p:spTree>
      <p:nvGrpSpPr>
        <p:cNvPr id="1" name=""/>
        <p:cNvGrpSpPr/>
        <p:nvPr/>
      </p:nvGrpSpPr>
      <p:grpSpPr>
        <a:xfrm>
          <a:off x="0" y="0"/>
          <a:ext cx="0" cy="0"/>
          <a:chOff x="0" y="0"/>
          <a:chExt cx="0" cy="0"/>
        </a:xfrm>
      </p:grpSpPr>
      <p:sp>
        <p:nvSpPr>
          <p:cNvPr id="18" name="Picture Placeholder 35"/>
          <p:cNvSpPr>
            <a:spLocks noGrp="1"/>
          </p:cNvSpPr>
          <p:nvPr userDrawn="1">
            <p:ph type="pic" sz="quarter" idx="20"/>
          </p:nvPr>
        </p:nvSpPr>
        <p:spPr>
          <a:xfrm>
            <a:off x="596820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9" name="Picture Placeholder 38"/>
          <p:cNvSpPr>
            <a:spLocks noGrp="1"/>
          </p:cNvSpPr>
          <p:nvPr userDrawn="1">
            <p:ph type="pic" sz="quarter" idx="21"/>
          </p:nvPr>
        </p:nvSpPr>
        <p:spPr>
          <a:xfrm>
            <a:off x="596820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1" name="Picture Placeholder 35"/>
          <p:cNvSpPr>
            <a:spLocks noGrp="1"/>
          </p:cNvSpPr>
          <p:nvPr userDrawn="1">
            <p:ph type="pic" sz="quarter" idx="22"/>
          </p:nvPr>
        </p:nvSpPr>
        <p:spPr>
          <a:xfrm>
            <a:off x="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2" name="Picture Placeholder 38"/>
          <p:cNvSpPr>
            <a:spLocks noGrp="1"/>
          </p:cNvSpPr>
          <p:nvPr userDrawn="1">
            <p:ph type="pic" sz="quarter" idx="23"/>
          </p:nvPr>
        </p:nvSpPr>
        <p:spPr>
          <a:xfrm>
            <a:off x="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 name="Footer Placeholder 1"/>
          <p:cNvSpPr>
            <a:spLocks noGrp="1"/>
          </p:cNvSpPr>
          <p:nvPr>
            <p:ph type="ftr" sz="quarter" idx="16"/>
          </p:nvPr>
        </p:nvSpPr>
        <p:spPr/>
        <p:txBody>
          <a:bodyPr lIns="180000" tIns="93600" rIns="180000" bIns="93600"/>
          <a:lstStyle/>
          <a:p>
            <a:endParaRPr lang="en-GB" dirty="0">
              <a:solidFill>
                <a:srgbClr val="737373"/>
              </a:solidFill>
            </a:endParaRPr>
          </a:p>
        </p:txBody>
      </p:sp>
      <p:sp>
        <p:nvSpPr>
          <p:cNvPr id="8" name="Slide Number Placeholder 7"/>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5" name="Group 24">
            <a:extLst>
              <a:ext uri="{FF2B5EF4-FFF2-40B4-BE49-F238E27FC236}">
                <a16:creationId xmlns:a16="http://schemas.microsoft.com/office/drawing/2014/main" xmlns="" id="{9AFDEF2C-2E86-449A-8965-CF96952064AB}"/>
              </a:ext>
            </a:extLst>
          </p:cNvPr>
          <p:cNvGrpSpPr/>
          <p:nvPr userDrawn="1"/>
        </p:nvGrpSpPr>
        <p:grpSpPr>
          <a:xfrm>
            <a:off x="2870665" y="375006"/>
            <a:ext cx="437727" cy="569144"/>
            <a:chOff x="494744" y="523692"/>
            <a:chExt cx="1225205" cy="1225205"/>
          </a:xfrm>
        </p:grpSpPr>
        <p:grpSp>
          <p:nvGrpSpPr>
            <p:cNvPr id="26" name="Group 25">
              <a:extLst>
                <a:ext uri="{FF2B5EF4-FFF2-40B4-BE49-F238E27FC236}">
                  <a16:creationId xmlns:a16="http://schemas.microsoft.com/office/drawing/2014/main" xmlns="" id="{58FA8A52-82CA-4800-827A-D8D59BF44DA4}"/>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4F894EF0-B70B-449D-AEEA-A4BCC69E565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62583050-6B88-408E-AFA7-54A20A1F49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0133C60D-CB47-4254-B256-58FA043172A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956AD9A3-0F29-48D0-A2A9-00B0F51F284B}"/>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37DFF387-A5AD-4246-AFD5-9AF276A8A8C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EB3F83B4-EB06-4DE1-9FB2-189CB1EF63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846F9F77-7322-4171-BE09-8674DBA7CA22}"/>
              </a:ext>
            </a:extLst>
          </p:cNvPr>
          <p:cNvSpPr>
            <a:spLocks noGrp="1"/>
          </p:cNvSpPr>
          <p:nvPr>
            <p:ph type="title"/>
          </p:nvPr>
        </p:nvSpPr>
        <p:spPr>
          <a:xfrm>
            <a:off x="3003937" y="534628"/>
            <a:ext cx="2722297" cy="602506"/>
          </a:xfrm>
        </p:spPr>
        <p:txBody>
          <a:bodyPr lIns="180000" tIns="93600" rIns="180000" bIns="93600"/>
          <a:lstStyle>
            <a:lvl1pPr algn="l">
              <a:defRPr/>
            </a:lvl1pPr>
          </a:lstStyle>
          <a:p>
            <a:endParaRPr lang="en-GB" dirty="0"/>
          </a:p>
        </p:txBody>
      </p:sp>
      <p:grpSp>
        <p:nvGrpSpPr>
          <p:cNvPr id="3" name="Group 2">
            <a:extLst>
              <a:ext uri="{FF2B5EF4-FFF2-40B4-BE49-F238E27FC236}">
                <a16:creationId xmlns:a16="http://schemas.microsoft.com/office/drawing/2014/main" xmlns="" id="{B1836DF1-0792-46CA-AA7C-B4B21A2B1E71}"/>
              </a:ext>
            </a:extLst>
          </p:cNvPr>
          <p:cNvGrpSpPr/>
          <p:nvPr userDrawn="1"/>
        </p:nvGrpSpPr>
        <p:grpSpPr>
          <a:xfrm>
            <a:off x="2763170" y="0"/>
            <a:ext cx="3185861" cy="6372225"/>
            <a:chOff x="7730802" y="1"/>
            <a:chExt cx="8917275" cy="13717587"/>
          </a:xfrm>
        </p:grpSpPr>
        <p:pic>
          <p:nvPicPr>
            <p:cNvPr id="34" name="Picture 33">
              <a:extLst>
                <a:ext uri="{FF2B5EF4-FFF2-40B4-BE49-F238E27FC236}">
                  <a16:creationId xmlns:a16="http://schemas.microsoft.com/office/drawing/2014/main" xmlns="" id="{A2C104ED-6F03-42A0-A73C-CE554C11C24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104557" y="6626246"/>
              <a:ext cx="13717587" cy="465097"/>
            </a:xfrm>
            <a:prstGeom prst="rect">
              <a:avLst/>
            </a:prstGeom>
          </p:spPr>
        </p:pic>
        <p:pic>
          <p:nvPicPr>
            <p:cNvPr id="35" name="Picture 34">
              <a:extLst>
                <a:ext uri="{FF2B5EF4-FFF2-40B4-BE49-F238E27FC236}">
                  <a16:creationId xmlns:a16="http://schemas.microsoft.com/office/drawing/2014/main" xmlns="" id="{68BCD812-E26D-4BD0-869E-921C0273142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5400000">
              <a:off x="9556735" y="6626246"/>
              <a:ext cx="13717587" cy="465097"/>
            </a:xfrm>
            <a:prstGeom prst="rect">
              <a:avLst/>
            </a:prstGeom>
          </p:spPr>
        </p:pic>
      </p:grpSp>
    </p:spTree>
    <p:extLst>
      <p:ext uri="{BB962C8B-B14F-4D97-AF65-F5344CB8AC3E}">
        <p14:creationId xmlns:p14="http://schemas.microsoft.com/office/powerpoint/2010/main" xmlns="" val="393997987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isyDeck Master - 46">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4361439" y="0"/>
            <a:ext cx="2130450" cy="307214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3" name="Picture Placeholder 11"/>
          <p:cNvSpPr>
            <a:spLocks noGrp="1"/>
          </p:cNvSpPr>
          <p:nvPr>
            <p:ph type="pic" sz="quarter" idx="13"/>
          </p:nvPr>
        </p:nvSpPr>
        <p:spPr>
          <a:xfrm>
            <a:off x="4361439" y="3150044"/>
            <a:ext cx="2130447" cy="3222181"/>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4" name="Picture Placeholder 11"/>
          <p:cNvSpPr>
            <a:spLocks noGrp="1"/>
          </p:cNvSpPr>
          <p:nvPr>
            <p:ph type="pic" sz="quarter" idx="14"/>
          </p:nvPr>
        </p:nvSpPr>
        <p:spPr>
          <a:xfrm>
            <a:off x="6553840" y="1"/>
            <a:ext cx="2158361" cy="2455368"/>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5" name="Picture Placeholder 11"/>
          <p:cNvSpPr>
            <a:spLocks noGrp="1"/>
          </p:cNvSpPr>
          <p:nvPr>
            <p:ph type="pic" sz="quarter" idx="15"/>
          </p:nvPr>
        </p:nvSpPr>
        <p:spPr>
          <a:xfrm>
            <a:off x="6553840" y="2530791"/>
            <a:ext cx="2158361" cy="384143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4" name="Footer Placeholder 3">
            <a:extLst>
              <a:ext uri="{FF2B5EF4-FFF2-40B4-BE49-F238E27FC236}">
                <a16:creationId xmlns:a16="http://schemas.microsoft.com/office/drawing/2014/main" xmlns="" id="{41F3EADF-730C-429E-85DD-E1495F72C840}"/>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9CFC30C9-67D4-4B70-8087-554C788BB2F1}"/>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3" name="Title 1">
            <a:extLst>
              <a:ext uri="{FF2B5EF4-FFF2-40B4-BE49-F238E27FC236}">
                <a16:creationId xmlns:a16="http://schemas.microsoft.com/office/drawing/2014/main" xmlns="" id="{01FBD749-3D72-4894-82D9-38D1CF3766A4}"/>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grpSp>
        <p:nvGrpSpPr>
          <p:cNvPr id="34" name="Group 33">
            <a:extLst>
              <a:ext uri="{FF2B5EF4-FFF2-40B4-BE49-F238E27FC236}">
                <a16:creationId xmlns:a16="http://schemas.microsoft.com/office/drawing/2014/main" xmlns="" id="{AC5A8DAA-2B59-4922-BAE0-BDDEEEF10190}"/>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xmlns="" id="{736FF1DA-B8F8-4261-A856-9D88ED781DEB}"/>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xmlns="" id="{3713CC93-F903-4055-8EBF-2D7BDA230EC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07F66012-27D4-4EE5-9C96-6CD37CB31A9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F6ED9EF4-0D78-46A3-8B9C-611BD8567F6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B2D85C53-9D0E-485F-8E20-C15C52308CC6}"/>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xmlns="" id="{C1FB4420-E969-4233-9C5F-F7374A7F3EB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70F0A92F-FF15-4513-A0D2-4E1A80313A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107719665"/>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isyDeck Master - 47">
    <p:bg>
      <p:bgPr>
        <a:solidFill>
          <a:schemeClr val="bg1"/>
        </a:solidFill>
        <a:effectLst/>
      </p:bgPr>
    </p:bg>
    <p:spTree>
      <p:nvGrpSpPr>
        <p:cNvPr id="1" name=""/>
        <p:cNvGrpSpPr/>
        <p:nvPr/>
      </p:nvGrpSpPr>
      <p:grpSpPr>
        <a:xfrm>
          <a:off x="0" y="0"/>
          <a:ext cx="0" cy="0"/>
          <a:chOff x="0" y="0"/>
          <a:chExt cx="0" cy="0"/>
        </a:xfrm>
      </p:grpSpPr>
      <p:sp>
        <p:nvSpPr>
          <p:cNvPr id="28" name="Picture Placeholder 27"/>
          <p:cNvSpPr>
            <a:spLocks noGrp="1"/>
          </p:cNvSpPr>
          <p:nvPr>
            <p:ph type="pic" sz="quarter" idx="15"/>
          </p:nvPr>
        </p:nvSpPr>
        <p:spPr>
          <a:xfrm>
            <a:off x="2566211" y="-1"/>
            <a:ext cx="3579779" cy="6372225"/>
          </a:xfrm>
          <a:custGeom>
            <a:avLst/>
            <a:gdLst>
              <a:gd name="connsiteX0" fmla="*/ 1666267 w 4925683"/>
              <a:gd name="connsiteY0" fmla="*/ 5227608 h 6858000"/>
              <a:gd name="connsiteX1" fmla="*/ 4925683 w 4925683"/>
              <a:gd name="connsiteY1" fmla="*/ 5227608 h 6858000"/>
              <a:gd name="connsiteX2" fmla="*/ 4925683 w 4925683"/>
              <a:gd name="connsiteY2" fmla="*/ 6858000 h 6858000"/>
              <a:gd name="connsiteX3" fmla="*/ 1666267 w 4925683"/>
              <a:gd name="connsiteY3" fmla="*/ 6858000 h 6858000"/>
              <a:gd name="connsiteX4" fmla="*/ 0 w 4925683"/>
              <a:gd name="connsiteY4" fmla="*/ 5227608 h 6858000"/>
              <a:gd name="connsiteX5" fmla="*/ 1570064 w 4925683"/>
              <a:gd name="connsiteY5" fmla="*/ 5227608 h 6858000"/>
              <a:gd name="connsiteX6" fmla="*/ 1570064 w 4925683"/>
              <a:gd name="connsiteY6" fmla="*/ 6858000 h 6858000"/>
              <a:gd name="connsiteX7" fmla="*/ 0 w 4925683"/>
              <a:gd name="connsiteY7" fmla="*/ 6858000 h 6858000"/>
              <a:gd name="connsiteX8" fmla="*/ 1 w 4925683"/>
              <a:gd name="connsiteY8" fmla="*/ 3422556 h 6858000"/>
              <a:gd name="connsiteX9" fmla="*/ 3251721 w 4925683"/>
              <a:gd name="connsiteY9" fmla="*/ 3422556 h 6858000"/>
              <a:gd name="connsiteX10" fmla="*/ 3251721 w 4925683"/>
              <a:gd name="connsiteY10" fmla="*/ 5132159 h 6858000"/>
              <a:gd name="connsiteX11" fmla="*/ 1 w 4925683"/>
              <a:gd name="connsiteY11" fmla="*/ 5132159 h 6858000"/>
              <a:gd name="connsiteX12" fmla="*/ 3347925 w 4925683"/>
              <a:gd name="connsiteY12" fmla="*/ 1699404 h 6858000"/>
              <a:gd name="connsiteX13" fmla="*/ 4925682 w 4925683"/>
              <a:gd name="connsiteY13" fmla="*/ 1699404 h 6858000"/>
              <a:gd name="connsiteX14" fmla="*/ 4925682 w 4925683"/>
              <a:gd name="connsiteY14" fmla="*/ 5129470 h 6858000"/>
              <a:gd name="connsiteX15" fmla="*/ 3347925 w 4925683"/>
              <a:gd name="connsiteY15" fmla="*/ 5129470 h 6858000"/>
              <a:gd name="connsiteX16" fmla="*/ 1666266 w 4925683"/>
              <a:gd name="connsiteY16" fmla="*/ 1699404 h 6858000"/>
              <a:gd name="connsiteX17" fmla="*/ 3251720 w 4925683"/>
              <a:gd name="connsiteY17" fmla="*/ 1699404 h 6858000"/>
              <a:gd name="connsiteX18" fmla="*/ 3251720 w 4925683"/>
              <a:gd name="connsiteY18" fmla="*/ 3329797 h 6858000"/>
              <a:gd name="connsiteX19" fmla="*/ 1666266 w 4925683"/>
              <a:gd name="connsiteY19" fmla="*/ 3329797 h 6858000"/>
              <a:gd name="connsiteX20" fmla="*/ 0 w 4925683"/>
              <a:gd name="connsiteY20" fmla="*/ 1 h 6858000"/>
              <a:gd name="connsiteX21" fmla="*/ 1570062 w 4925683"/>
              <a:gd name="connsiteY21" fmla="*/ 1 h 6858000"/>
              <a:gd name="connsiteX22" fmla="*/ 1570062 w 4925683"/>
              <a:gd name="connsiteY22" fmla="*/ 3329797 h 6858000"/>
              <a:gd name="connsiteX23" fmla="*/ 0 w 4925683"/>
              <a:gd name="connsiteY23" fmla="*/ 3329797 h 6858000"/>
              <a:gd name="connsiteX24" fmla="*/ 1666266 w 4925683"/>
              <a:gd name="connsiteY24" fmla="*/ 0 h 6858000"/>
              <a:gd name="connsiteX25" fmla="*/ 4925682 w 4925683"/>
              <a:gd name="connsiteY25" fmla="*/ 0 h 6858000"/>
              <a:gd name="connsiteX26" fmla="*/ 4925682 w 4925683"/>
              <a:gd name="connsiteY26" fmla="*/ 1606645 h 6858000"/>
              <a:gd name="connsiteX27" fmla="*/ 1666266 w 4925683"/>
              <a:gd name="connsiteY27" fmla="*/ 16066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25683" h="6858000">
                <a:moveTo>
                  <a:pt x="1666267" y="5227608"/>
                </a:moveTo>
                <a:lnTo>
                  <a:pt x="4925683" y="5227608"/>
                </a:lnTo>
                <a:lnTo>
                  <a:pt x="4925683" y="6858000"/>
                </a:lnTo>
                <a:lnTo>
                  <a:pt x="1666267" y="6858000"/>
                </a:lnTo>
                <a:close/>
                <a:moveTo>
                  <a:pt x="0" y="5227608"/>
                </a:moveTo>
                <a:lnTo>
                  <a:pt x="1570064" y="5227608"/>
                </a:lnTo>
                <a:lnTo>
                  <a:pt x="1570064" y="6858000"/>
                </a:lnTo>
                <a:lnTo>
                  <a:pt x="0" y="6858000"/>
                </a:lnTo>
                <a:close/>
                <a:moveTo>
                  <a:pt x="1" y="3422556"/>
                </a:moveTo>
                <a:lnTo>
                  <a:pt x="3251721" y="3422556"/>
                </a:lnTo>
                <a:lnTo>
                  <a:pt x="3251721" y="5132159"/>
                </a:lnTo>
                <a:lnTo>
                  <a:pt x="1" y="5132159"/>
                </a:lnTo>
                <a:close/>
                <a:moveTo>
                  <a:pt x="3347925" y="1699404"/>
                </a:moveTo>
                <a:lnTo>
                  <a:pt x="4925682" y="1699404"/>
                </a:lnTo>
                <a:lnTo>
                  <a:pt x="4925682" y="5129470"/>
                </a:lnTo>
                <a:lnTo>
                  <a:pt x="3347925" y="5129470"/>
                </a:lnTo>
                <a:close/>
                <a:moveTo>
                  <a:pt x="1666266" y="1699404"/>
                </a:moveTo>
                <a:lnTo>
                  <a:pt x="3251720" y="1699404"/>
                </a:lnTo>
                <a:lnTo>
                  <a:pt x="3251720" y="3329797"/>
                </a:lnTo>
                <a:lnTo>
                  <a:pt x="1666266" y="3329797"/>
                </a:lnTo>
                <a:close/>
                <a:moveTo>
                  <a:pt x="0" y="1"/>
                </a:moveTo>
                <a:lnTo>
                  <a:pt x="1570062" y="1"/>
                </a:lnTo>
                <a:lnTo>
                  <a:pt x="1570062" y="3329797"/>
                </a:lnTo>
                <a:lnTo>
                  <a:pt x="0" y="3329797"/>
                </a:lnTo>
                <a:close/>
                <a:moveTo>
                  <a:pt x="1666266" y="0"/>
                </a:moveTo>
                <a:lnTo>
                  <a:pt x="4925682" y="0"/>
                </a:lnTo>
                <a:lnTo>
                  <a:pt x="4925682" y="1606645"/>
                </a:lnTo>
                <a:lnTo>
                  <a:pt x="1666266" y="160664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2" name="Footer Placeholder 1">
            <a:extLst>
              <a:ext uri="{FF2B5EF4-FFF2-40B4-BE49-F238E27FC236}">
                <a16:creationId xmlns:a16="http://schemas.microsoft.com/office/drawing/2014/main" xmlns="" id="{745E05C1-DBB1-4229-990C-A3CB664BBBD9}"/>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34F7A66A-37BD-43EB-AE0A-53735C3CA8FE}"/>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9" name="Title 1">
            <a:extLst>
              <a:ext uri="{FF2B5EF4-FFF2-40B4-BE49-F238E27FC236}">
                <a16:creationId xmlns:a16="http://schemas.microsoft.com/office/drawing/2014/main" xmlns="" id="{75021788-08DF-4680-8C47-A400D46EF209}"/>
              </a:ext>
            </a:extLst>
          </p:cNvPr>
          <p:cNvSpPr>
            <a:spLocks noGrp="1"/>
          </p:cNvSpPr>
          <p:nvPr>
            <p:ph type="title"/>
          </p:nvPr>
        </p:nvSpPr>
        <p:spPr>
          <a:xfrm>
            <a:off x="288518" y="376381"/>
            <a:ext cx="2040558" cy="602506"/>
          </a:xfrm>
        </p:spPr>
        <p:txBody>
          <a:bodyPr lIns="180000" tIns="93600" rIns="180000" bIns="93600"/>
          <a:lstStyle>
            <a:lvl1pPr algn="l">
              <a:defRPr/>
            </a:lvl1pPr>
          </a:lstStyle>
          <a:p>
            <a:endParaRPr lang="en-GB" dirty="0"/>
          </a:p>
        </p:txBody>
      </p:sp>
      <p:grpSp>
        <p:nvGrpSpPr>
          <p:cNvPr id="12" name="Group 11">
            <a:extLst>
              <a:ext uri="{FF2B5EF4-FFF2-40B4-BE49-F238E27FC236}">
                <a16:creationId xmlns:a16="http://schemas.microsoft.com/office/drawing/2014/main" xmlns="" id="{B60EFD7B-6CF6-47FC-B0C8-76ECC84CD1DB}"/>
              </a:ext>
            </a:extLst>
          </p:cNvPr>
          <p:cNvGrpSpPr/>
          <p:nvPr userDrawn="1"/>
        </p:nvGrpSpPr>
        <p:grpSpPr>
          <a:xfrm>
            <a:off x="155245" y="216759"/>
            <a:ext cx="437727" cy="569144"/>
            <a:chOff x="434532" y="466621"/>
            <a:chExt cx="1225205" cy="1225205"/>
          </a:xfrm>
        </p:grpSpPr>
        <p:grpSp>
          <p:nvGrpSpPr>
            <p:cNvPr id="13" name="Group 12">
              <a:extLst>
                <a:ext uri="{FF2B5EF4-FFF2-40B4-BE49-F238E27FC236}">
                  <a16:creationId xmlns:a16="http://schemas.microsoft.com/office/drawing/2014/main" xmlns="" id="{A49D1DBC-443F-46CA-B44B-F9AE690DDF3E}"/>
                </a:ext>
              </a:extLst>
            </p:cNvPr>
            <p:cNvGrpSpPr>
              <a:grpSpLocks noChangeAspect="1"/>
            </p:cNvGrpSpPr>
            <p:nvPr userDrawn="1"/>
          </p:nvGrpSpPr>
          <p:grpSpPr>
            <a:xfrm rot="18900000">
              <a:off x="647093" y="812151"/>
              <a:ext cx="471488" cy="153360"/>
              <a:chOff x="11661248" y="7789719"/>
              <a:chExt cx="1293156" cy="420621"/>
            </a:xfrm>
          </p:grpSpPr>
          <p:cxnSp>
            <p:nvCxnSpPr>
              <p:cNvPr id="17" name="Straight Connector 16">
                <a:extLst>
                  <a:ext uri="{FF2B5EF4-FFF2-40B4-BE49-F238E27FC236}">
                    <a16:creationId xmlns:a16="http://schemas.microsoft.com/office/drawing/2014/main" xmlns="" id="{CAB2C530-33D2-474B-9432-E4143C6BE6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8E3C931C-ED15-4979-8860-5C2348A863A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6AD9341F-68A3-4633-BB48-407BF2CD2B0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xmlns="" id="{0A3614E6-A7BB-4DE0-A119-FA7B4A37FCB9}"/>
                </a:ext>
              </a:extLst>
            </p:cNvPr>
            <p:cNvGrpSpPr/>
            <p:nvPr userDrawn="1"/>
          </p:nvGrpSpPr>
          <p:grpSpPr>
            <a:xfrm>
              <a:off x="434532" y="466621"/>
              <a:ext cx="1225205" cy="1225205"/>
              <a:chOff x="12636425" y="442230"/>
              <a:chExt cx="1860336" cy="1860336"/>
            </a:xfrm>
          </p:grpSpPr>
          <p:cxnSp>
            <p:nvCxnSpPr>
              <p:cNvPr id="15" name="Straight Connector 14">
                <a:extLst>
                  <a:ext uri="{FF2B5EF4-FFF2-40B4-BE49-F238E27FC236}">
                    <a16:creationId xmlns:a16="http://schemas.microsoft.com/office/drawing/2014/main" xmlns="" id="{8F2B8BE7-25D6-4229-8A21-F1F2F6C29F1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61464E7E-48D4-4969-B261-F330490237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91585762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isyDeck Master - 4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xmlns=""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xmlns=""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xmlns=""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xmlns=""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2250831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9388998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isyDeck Master - 49">
    <p:bg>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userDrawn="1">
            <p:ph type="pic" sz="quarter" idx="13"/>
          </p:nvPr>
        </p:nvSpPr>
        <p:spPr>
          <a:xfrm>
            <a:off x="0" y="0"/>
            <a:ext cx="4172954"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7" name="Title 1"/>
          <p:cNvSpPr>
            <a:spLocks noGrp="1"/>
          </p:cNvSpPr>
          <p:nvPr>
            <p:ph type="ctrTitle" hasCustomPrompt="1"/>
          </p:nvPr>
        </p:nvSpPr>
        <p:spPr>
          <a:xfrm>
            <a:off x="4489372" y="418024"/>
            <a:ext cx="3903302" cy="980912"/>
          </a:xfrm>
          <a:prstGeom prst="rect">
            <a:avLst/>
          </a:prstGeom>
        </p:spPr>
        <p:txBody>
          <a:bodyPr vert="horz" wrap="square" lIns="180000" tIns="93600" rIns="180000" bIns="93600" rtlCol="0" anchor="t" anchorCtr="0">
            <a:spAutoFit/>
          </a:bodyPr>
          <a:lstStyle>
            <a:lvl1pPr algn="l">
              <a:defRPr lang="en-GB" dirty="0"/>
            </a:lvl1pPr>
          </a:lstStyle>
          <a:p>
            <a:pPr lvl="0" algn="l" defTabSz="649343">
              <a:lnSpc>
                <a:spcPct val="100000"/>
              </a:lnSpc>
            </a:pPr>
            <a:r>
              <a:rPr lang="en-US" dirty="0"/>
              <a:t>Click to ADD slide title</a:t>
            </a:r>
            <a:endParaRPr lang="en-GB" dirty="0"/>
          </a:p>
        </p:txBody>
      </p:sp>
      <p:grpSp>
        <p:nvGrpSpPr>
          <p:cNvPr id="38" name="Group 37"/>
          <p:cNvGrpSpPr/>
          <p:nvPr userDrawn="1"/>
        </p:nvGrpSpPr>
        <p:grpSpPr>
          <a:xfrm>
            <a:off x="4356100" y="258402"/>
            <a:ext cx="437727" cy="569144"/>
            <a:chOff x="494744" y="523692"/>
            <a:chExt cx="1225205" cy="1225205"/>
          </a:xfrm>
        </p:grpSpPr>
        <p:grpSp>
          <p:nvGrpSpPr>
            <p:cNvPr id="39" name="Group 38"/>
            <p:cNvGrpSpPr>
              <a:grpSpLocks noChangeAspect="1"/>
            </p:cNvGrpSpPr>
            <p:nvPr userDrawn="1"/>
          </p:nvGrpSpPr>
          <p:grpSpPr>
            <a:xfrm rot="18900000">
              <a:off x="707305" y="869222"/>
              <a:ext cx="471488" cy="153360"/>
              <a:chOff x="11661248" y="7789719"/>
              <a:chExt cx="1293156" cy="420621"/>
            </a:xfrm>
          </p:grpSpPr>
          <p:cxnSp>
            <p:nvCxnSpPr>
              <p:cNvPr id="43" name="Straight Connector 42"/>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5" name="Straight Connector 44"/>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0" name="Group 39"/>
            <p:cNvGrpSpPr/>
            <p:nvPr userDrawn="1"/>
          </p:nvGrpSpPr>
          <p:grpSpPr>
            <a:xfrm>
              <a:off x="494744" y="523692"/>
              <a:ext cx="1225205" cy="1225205"/>
              <a:chOff x="12636425" y="442230"/>
              <a:chExt cx="1860336" cy="1860336"/>
            </a:xfrm>
          </p:grpSpPr>
          <p:cxnSp>
            <p:nvCxnSpPr>
              <p:cNvPr id="41" name="Straight Connector 40"/>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4" name="Picture 13">
            <a:extLst>
              <a:ext uri="{FF2B5EF4-FFF2-40B4-BE49-F238E27FC236}">
                <a16:creationId xmlns:a16="http://schemas.microsoft.com/office/drawing/2014/main" xmlns="" id="{A6026458-ADFD-43FC-B5DD-ED445B47FDFE}"/>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119603" y="3081074"/>
            <a:ext cx="6372225" cy="210078"/>
          </a:xfrm>
          <a:prstGeom prst="rect">
            <a:avLst/>
          </a:prstGeom>
        </p:spPr>
      </p:pic>
      <p:sp>
        <p:nvSpPr>
          <p:cNvPr id="4" name="Footer Placeholder 3">
            <a:extLst>
              <a:ext uri="{FF2B5EF4-FFF2-40B4-BE49-F238E27FC236}">
                <a16:creationId xmlns:a16="http://schemas.microsoft.com/office/drawing/2014/main" xmlns="" id="{7867AB0E-E120-4ACF-AA04-B6BDB7E72494}"/>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89008769-B858-43AF-A628-26A729FEDD2B}"/>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644469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isyDeck Master - 50">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4545192" y="1"/>
            <a:ext cx="4175226" cy="2362140"/>
          </a:xfrm>
          <a:custGeom>
            <a:avLst/>
            <a:gdLst>
              <a:gd name="connsiteX0" fmla="*/ 0 w 4382162"/>
              <a:gd name="connsiteY0" fmla="*/ 0 h 2542213"/>
              <a:gd name="connsiteX1" fmla="*/ 4382162 w 4382162"/>
              <a:gd name="connsiteY1" fmla="*/ 0 h 2542213"/>
              <a:gd name="connsiteX2" fmla="*/ 4382162 w 4382162"/>
              <a:gd name="connsiteY2" fmla="*/ 2542213 h 2542213"/>
              <a:gd name="connsiteX3" fmla="*/ 0 w 4382162"/>
              <a:gd name="connsiteY3" fmla="*/ 2542213 h 2542213"/>
            </a:gdLst>
            <a:ahLst/>
            <a:cxnLst>
              <a:cxn ang="0">
                <a:pos x="connsiteX0" y="connsiteY0"/>
              </a:cxn>
              <a:cxn ang="0">
                <a:pos x="connsiteX1" y="connsiteY1"/>
              </a:cxn>
              <a:cxn ang="0">
                <a:pos x="connsiteX2" y="connsiteY2"/>
              </a:cxn>
              <a:cxn ang="0">
                <a:pos x="connsiteX3" y="connsiteY3"/>
              </a:cxn>
            </a:cxnLst>
            <a:rect l="l" t="t" r="r" b="b"/>
            <a:pathLst>
              <a:path w="4382162" h="2542213">
                <a:moveTo>
                  <a:pt x="0" y="0"/>
                </a:moveTo>
                <a:lnTo>
                  <a:pt x="4382162" y="0"/>
                </a:lnTo>
                <a:lnTo>
                  <a:pt x="4382162" y="2542213"/>
                </a:lnTo>
                <a:lnTo>
                  <a:pt x="0" y="2542213"/>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pic>
        <p:nvPicPr>
          <p:cNvPr id="5" name="Picture 4"/>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5695830"/>
            <a:ext cx="8712200" cy="256659"/>
          </a:xfrm>
          <a:prstGeom prst="rect">
            <a:avLst/>
          </a:prstGeom>
        </p:spPr>
      </p:pic>
      <p:sp>
        <p:nvSpPr>
          <p:cNvPr id="6" name="Rectangle 5"/>
          <p:cNvSpPr/>
          <p:nvPr userDrawn="1"/>
        </p:nvSpPr>
        <p:spPr>
          <a:xfrm>
            <a:off x="0" y="2362140"/>
            <a:ext cx="8712200" cy="3337122"/>
          </a:xfrm>
          <a:prstGeom prst="rect">
            <a:avLst/>
          </a:prstGeom>
          <a:solidFill>
            <a:schemeClr val="tx1">
              <a:alpha val="10196"/>
            </a:schemeClr>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grpSp>
        <p:nvGrpSpPr>
          <p:cNvPr id="25" name="Group 24">
            <a:extLst>
              <a:ext uri="{FF2B5EF4-FFF2-40B4-BE49-F238E27FC236}">
                <a16:creationId xmlns:a16="http://schemas.microsoft.com/office/drawing/2014/main" xmlns="" id="{F05408A0-1D48-4F1F-A7B4-562277508340}"/>
              </a:ext>
            </a:extLst>
          </p:cNvPr>
          <p:cNvGrpSpPr/>
          <p:nvPr userDrawn="1"/>
        </p:nvGrpSpPr>
        <p:grpSpPr>
          <a:xfrm>
            <a:off x="155245" y="216759"/>
            <a:ext cx="437727" cy="569144"/>
            <a:chOff x="494744" y="523692"/>
            <a:chExt cx="1225205" cy="1225205"/>
          </a:xfrm>
        </p:grpSpPr>
        <p:grpSp>
          <p:nvGrpSpPr>
            <p:cNvPr id="26" name="Group 25">
              <a:extLst>
                <a:ext uri="{FF2B5EF4-FFF2-40B4-BE49-F238E27FC236}">
                  <a16:creationId xmlns:a16="http://schemas.microsoft.com/office/drawing/2014/main" xmlns="" id="{695B9F65-EA79-4C84-98FD-676A7BD3701C}"/>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C2E4677C-F4DA-4BB4-982E-F219A5BEC03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62AAB17-90A7-41E4-8933-5E33CD9C76D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8B683F85-39F3-4C54-8D8E-7B05B335A28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A5E1FBCB-6D3A-4959-BF96-BA1A016E87F3}"/>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A78F309A-2518-4C45-A4EC-35A20439EE25}"/>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2A5A7E61-4F3D-4C01-95CF-061254EA7A2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BDE28D2D-7B59-4FBC-A843-B91388ED15F6}"/>
              </a:ext>
            </a:extLst>
          </p:cNvPr>
          <p:cNvSpPr>
            <a:spLocks noGrp="1"/>
          </p:cNvSpPr>
          <p:nvPr userDrawn="1">
            <p:ph type="title"/>
          </p:nvPr>
        </p:nvSpPr>
        <p:spPr>
          <a:xfrm>
            <a:off x="288518" y="376381"/>
            <a:ext cx="4019540" cy="602506"/>
          </a:xfrm>
        </p:spPr>
        <p:txBody>
          <a:bodyPr lIns="180000" tIns="93600" rIns="180000" bIns="93600"/>
          <a:lstStyle>
            <a:lvl1pPr algn="l">
              <a:defRPr/>
            </a:lvl1pPr>
          </a:lstStyle>
          <a:p>
            <a:endParaRPr lang="en-GB" dirty="0"/>
          </a:p>
        </p:txBody>
      </p:sp>
      <p:sp>
        <p:nvSpPr>
          <p:cNvPr id="34" name="Footer Placeholder 33">
            <a:extLst>
              <a:ext uri="{FF2B5EF4-FFF2-40B4-BE49-F238E27FC236}">
                <a16:creationId xmlns:a16="http://schemas.microsoft.com/office/drawing/2014/main" xmlns="" id="{8749DBC8-8B57-4210-8E59-0164338B3DA1}"/>
              </a:ext>
            </a:extLst>
          </p:cNvPr>
          <p:cNvSpPr>
            <a:spLocks noGrp="1"/>
          </p:cNvSpPr>
          <p:nvPr userDrawn="1">
            <p:ph type="ftr" sz="quarter" idx="13"/>
          </p:nvPr>
        </p:nvSpPr>
        <p:spPr/>
        <p:txBody>
          <a:bodyPr lIns="180000" tIns="93600" rIns="180000" bIns="93600"/>
          <a:lstStyle/>
          <a:p>
            <a:endParaRPr lang="en-GB" dirty="0">
              <a:solidFill>
                <a:srgbClr val="737373"/>
              </a:solidFill>
            </a:endParaRPr>
          </a:p>
        </p:txBody>
      </p:sp>
      <p:sp>
        <p:nvSpPr>
          <p:cNvPr id="35" name="Slide Number Placeholder 34">
            <a:extLst>
              <a:ext uri="{FF2B5EF4-FFF2-40B4-BE49-F238E27FC236}">
                <a16:creationId xmlns:a16="http://schemas.microsoft.com/office/drawing/2014/main" xmlns="" id="{ACBA367D-A06F-4CDF-AD16-A0B8DBA8468B}"/>
              </a:ext>
            </a:extLst>
          </p:cNvPr>
          <p:cNvSpPr>
            <a:spLocks noGrp="1"/>
          </p:cNvSpPr>
          <p:nvPr userDrawn="1">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6" name="Rectangle 35">
            <a:extLst>
              <a:ext uri="{FF2B5EF4-FFF2-40B4-BE49-F238E27FC236}">
                <a16:creationId xmlns:a16="http://schemas.microsoft.com/office/drawing/2014/main" xmlns="" id="{4B49F89A-EDFA-447F-AD46-7B33011DF0CF}"/>
              </a:ext>
            </a:extLst>
          </p:cNvPr>
          <p:cNvSpPr/>
          <p:nvPr userDrawn="1"/>
        </p:nvSpPr>
        <p:spPr>
          <a:xfrm>
            <a:off x="-8219" y="2362140"/>
            <a:ext cx="8720419" cy="61524"/>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xmlns="" val="192425928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isyDeck Master - 5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40195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654832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isyDeck Master - 52">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xmlns="" id="{B971C737-33A3-45A4-8358-29EF31B1F331}"/>
              </a:ext>
            </a:extLst>
          </p:cNvPr>
          <p:cNvGrpSpPr/>
          <p:nvPr userDrawn="1"/>
        </p:nvGrpSpPr>
        <p:grpSpPr>
          <a:xfrm>
            <a:off x="155244" y="1099095"/>
            <a:ext cx="437727" cy="569144"/>
            <a:chOff x="494744" y="523692"/>
            <a:chExt cx="1225205" cy="1225205"/>
          </a:xfrm>
        </p:grpSpPr>
        <p:grpSp>
          <p:nvGrpSpPr>
            <p:cNvPr id="7" name="Group 6">
              <a:extLst>
                <a:ext uri="{FF2B5EF4-FFF2-40B4-BE49-F238E27FC236}">
                  <a16:creationId xmlns:a16="http://schemas.microsoft.com/office/drawing/2014/main" xmlns="" id="{FEC6ACA2-F629-44A5-A62B-12AEC6A81741}"/>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xmlns="" id="{D6850660-EEB6-4F72-943D-2985D8EBE9F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BF53FF03-7523-437C-885B-54B667AEAAF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6AA307AE-A450-4890-8027-80C905249BB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xmlns="" id="{092C175C-D09A-48F7-A3BD-A1C3E3AB2B2E}"/>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xmlns="" id="{9D582301-82C3-4775-BF81-4782082883C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856D930C-FA8D-4177-856B-24838F8FA70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xmlns="" id="{EB0F736A-F160-4DDA-AB37-0463C4ED46A5}"/>
              </a:ext>
            </a:extLst>
          </p:cNvPr>
          <p:cNvSpPr>
            <a:spLocks noGrp="1"/>
          </p:cNvSpPr>
          <p:nvPr>
            <p:ph type="title"/>
          </p:nvPr>
        </p:nvSpPr>
        <p:spPr>
          <a:xfrm>
            <a:off x="288517" y="1258717"/>
            <a:ext cx="3125674" cy="602506"/>
          </a:xfrm>
        </p:spPr>
        <p:txBody>
          <a:bodyPr lIns="180000" tIns="93600" rIns="180000" bIns="93600"/>
          <a:lstStyle>
            <a:lvl1pPr algn="l">
              <a:defRPr/>
            </a:lvl1pPr>
          </a:lstStyle>
          <a:p>
            <a:endParaRPr lang="en-GB" dirty="0"/>
          </a:p>
        </p:txBody>
      </p:sp>
      <p:sp>
        <p:nvSpPr>
          <p:cNvPr id="16" name="Rectangle 15">
            <a:extLst>
              <a:ext uri="{FF2B5EF4-FFF2-40B4-BE49-F238E27FC236}">
                <a16:creationId xmlns:a16="http://schemas.microsoft.com/office/drawing/2014/main" xmlns="" id="{82D7D752-063A-406F-B506-4BBD267A3A0C}"/>
              </a:ext>
            </a:extLst>
          </p:cNvPr>
          <p:cNvSpPr/>
          <p:nvPr userDrawn="1"/>
        </p:nvSpPr>
        <p:spPr>
          <a:xfrm>
            <a:off x="0" y="4050048"/>
            <a:ext cx="8712200" cy="2322177"/>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grpSp>
        <p:nvGrpSpPr>
          <p:cNvPr id="15" name="Group 14">
            <a:extLst>
              <a:ext uri="{FF2B5EF4-FFF2-40B4-BE49-F238E27FC236}">
                <a16:creationId xmlns:a16="http://schemas.microsoft.com/office/drawing/2014/main" xmlns="" id="{8BC4B13E-894B-4C9D-B938-41A52EAE5DEE}"/>
              </a:ext>
            </a:extLst>
          </p:cNvPr>
          <p:cNvGrpSpPr>
            <a:grpSpLocks noChangeAspect="1"/>
          </p:cNvGrpSpPr>
          <p:nvPr userDrawn="1"/>
        </p:nvGrpSpPr>
        <p:grpSpPr>
          <a:xfrm rot="8100000" flipH="1" flipV="1">
            <a:off x="-6413" y="4131163"/>
            <a:ext cx="203928" cy="86245"/>
            <a:chOff x="11661248" y="7789719"/>
            <a:chExt cx="1293156" cy="420621"/>
          </a:xfrm>
        </p:grpSpPr>
        <p:cxnSp>
          <p:nvCxnSpPr>
            <p:cNvPr id="17" name="Straight Connector 16">
              <a:extLst>
                <a:ext uri="{FF2B5EF4-FFF2-40B4-BE49-F238E27FC236}">
                  <a16:creationId xmlns:a16="http://schemas.microsoft.com/office/drawing/2014/main" xmlns="" id="{3F5376B7-10AD-44B0-9302-50F937EA174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54CF1CE8-5E27-46FB-B67F-8DD21F556126}"/>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C17190A8-E60F-4C41-B8AA-0B1B37A5B328}"/>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242120364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aisyDeck Master - 5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C8277740-0D10-4A58-ACDB-D44F3001E08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23" name="Slide Number Placeholder 22">
            <a:extLst>
              <a:ext uri="{FF2B5EF4-FFF2-40B4-BE49-F238E27FC236}">
                <a16:creationId xmlns:a16="http://schemas.microsoft.com/office/drawing/2014/main" xmlns="" id="{1528DD63-2EA6-4C54-BE93-9C8C371AB36F}"/>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4" name="Title 1">
            <a:extLst>
              <a:ext uri="{FF2B5EF4-FFF2-40B4-BE49-F238E27FC236}">
                <a16:creationId xmlns:a16="http://schemas.microsoft.com/office/drawing/2014/main" xmlns="" id="{570EFA35-088C-4F0A-A77B-7C1B0AAEFCAC}"/>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xmlns="" id="{A47C4F62-72BB-45FE-ADA2-DD3A6963E53E}"/>
              </a:ext>
            </a:extLst>
          </p:cNvPr>
          <p:cNvGrpSpPr/>
          <p:nvPr userDrawn="1"/>
        </p:nvGrpSpPr>
        <p:grpSpPr>
          <a:xfrm>
            <a:off x="155245" y="216759"/>
            <a:ext cx="437727" cy="569144"/>
            <a:chOff x="434532" y="466621"/>
            <a:chExt cx="1225205" cy="1225205"/>
          </a:xfrm>
        </p:grpSpPr>
        <p:grpSp>
          <p:nvGrpSpPr>
            <p:cNvPr id="26" name="Group 25">
              <a:extLst>
                <a:ext uri="{FF2B5EF4-FFF2-40B4-BE49-F238E27FC236}">
                  <a16:creationId xmlns:a16="http://schemas.microsoft.com/office/drawing/2014/main" xmlns="" id="{F606F0E0-F505-4F1B-85A7-B9513117CEE0}"/>
                </a:ext>
              </a:extLst>
            </p:cNvPr>
            <p:cNvGrpSpPr>
              <a:grpSpLocks noChangeAspect="1"/>
            </p:cNvGrpSpPr>
            <p:nvPr userDrawn="1"/>
          </p:nvGrpSpPr>
          <p:grpSpPr>
            <a:xfrm rot="18900000">
              <a:off x="647093" y="812151"/>
              <a:ext cx="471488" cy="153360"/>
              <a:chOff x="11661248" y="7789719"/>
              <a:chExt cx="1293156" cy="420621"/>
            </a:xfrm>
          </p:grpSpPr>
          <p:cxnSp>
            <p:nvCxnSpPr>
              <p:cNvPr id="30" name="Straight Connector 29">
                <a:extLst>
                  <a:ext uri="{FF2B5EF4-FFF2-40B4-BE49-F238E27FC236}">
                    <a16:creationId xmlns:a16="http://schemas.microsoft.com/office/drawing/2014/main" xmlns="" id="{E8D97353-21CD-40CD-83A3-B4A014CB9FE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C9B693E6-3BFD-4C6F-B632-03110C0AF99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468D2F9E-12BE-43D5-B65C-E9DFC2641DE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65FC2D8F-691A-40D0-8E06-6F7337ED90FB}"/>
                </a:ext>
              </a:extLst>
            </p:cNvPr>
            <p:cNvGrpSpPr/>
            <p:nvPr userDrawn="1"/>
          </p:nvGrpSpPr>
          <p:grpSpPr>
            <a:xfrm>
              <a:off x="434532" y="466621"/>
              <a:ext cx="1225205" cy="1225205"/>
              <a:chOff x="12636425" y="442230"/>
              <a:chExt cx="1860336" cy="1860336"/>
            </a:xfrm>
          </p:grpSpPr>
          <p:cxnSp>
            <p:nvCxnSpPr>
              <p:cNvPr id="28" name="Straight Connector 27">
                <a:extLst>
                  <a:ext uri="{FF2B5EF4-FFF2-40B4-BE49-F238E27FC236}">
                    <a16:creationId xmlns:a16="http://schemas.microsoft.com/office/drawing/2014/main" xmlns="" id="{BDA737FD-DFCA-4E4A-93F8-53374575851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15B2D2B0-085A-48D4-B94F-E243D0407AE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3" name="Group 2">
            <a:extLst>
              <a:ext uri="{FF2B5EF4-FFF2-40B4-BE49-F238E27FC236}">
                <a16:creationId xmlns:a16="http://schemas.microsoft.com/office/drawing/2014/main" xmlns="" id="{FE4ACCD1-46AD-4A6F-B795-15C77B0CB9BC}"/>
              </a:ext>
            </a:extLst>
          </p:cNvPr>
          <p:cNvGrpSpPr/>
          <p:nvPr userDrawn="1"/>
        </p:nvGrpSpPr>
        <p:grpSpPr>
          <a:xfrm>
            <a:off x="125367" y="978887"/>
            <a:ext cx="8467097" cy="5088051"/>
            <a:chOff x="350904" y="2107266"/>
            <a:chExt cx="23699541" cy="10953126"/>
          </a:xfrm>
        </p:grpSpPr>
        <p:grpSp>
          <p:nvGrpSpPr>
            <p:cNvPr id="7" name="Group 6"/>
            <p:cNvGrpSpPr/>
            <p:nvPr userDrawn="1"/>
          </p:nvGrpSpPr>
          <p:grpSpPr>
            <a:xfrm>
              <a:off x="352083" y="2107266"/>
              <a:ext cx="23698362" cy="10953126"/>
              <a:chOff x="420688" y="152878"/>
              <a:chExt cx="8308975" cy="4858353"/>
            </a:xfrm>
          </p:grpSpPr>
          <p:grpSp>
            <p:nvGrpSpPr>
              <p:cNvPr id="8" name="Group 7"/>
              <p:cNvGrpSpPr/>
              <p:nvPr/>
            </p:nvGrpSpPr>
            <p:grpSpPr>
              <a:xfrm>
                <a:off x="420688" y="152879"/>
                <a:ext cx="8308975" cy="4858352"/>
                <a:chOff x="420688" y="152879"/>
                <a:chExt cx="8308975" cy="4858352"/>
              </a:xfrm>
            </p:grpSpPr>
            <p:pic>
              <p:nvPicPr>
                <p:cNvPr id="12" name="Picture 11"/>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20760" y="4573081"/>
                  <a:ext cx="8108830" cy="438150"/>
                </a:xfrm>
                <a:prstGeom prst="rect">
                  <a:avLst/>
                </a:prstGeom>
              </p:spPr>
            </p:pic>
            <p:sp>
              <p:nvSpPr>
                <p:cNvPr id="13" name="Freeform 13"/>
                <p:cNvSpPr>
                  <a:spLocks noEditPoints="1"/>
                </p:cNvSpPr>
                <p:nvPr/>
              </p:nvSpPr>
              <p:spPr bwMode="auto">
                <a:xfrm>
                  <a:off x="420688" y="152879"/>
                  <a:ext cx="8308975" cy="4772025"/>
                </a:xfrm>
                <a:custGeom>
                  <a:avLst/>
                  <a:gdLst>
                    <a:gd name="T0" fmla="*/ 696 w 2784"/>
                    <a:gd name="T1" fmla="*/ 0 h 1600"/>
                    <a:gd name="T2" fmla="*/ 696 w 2784"/>
                    <a:gd name="T3" fmla="*/ 0 h 1600"/>
                    <a:gd name="T4" fmla="*/ 696 w 2784"/>
                    <a:gd name="T5" fmla="*/ 0 h 1600"/>
                    <a:gd name="T6" fmla="*/ 696 w 2784"/>
                    <a:gd name="T7" fmla="*/ 0 h 1600"/>
                    <a:gd name="T8" fmla="*/ 696 w 2784"/>
                    <a:gd name="T9" fmla="*/ 0 h 1600"/>
                    <a:gd name="T10" fmla="*/ 2084 w 2784"/>
                    <a:gd name="T11" fmla="*/ 0 h 1600"/>
                    <a:gd name="T12" fmla="*/ 2084 w 2784"/>
                    <a:gd name="T13" fmla="*/ 0 h 1600"/>
                    <a:gd name="T14" fmla="*/ 2084 w 2784"/>
                    <a:gd name="T15" fmla="*/ 0 h 1600"/>
                    <a:gd name="T16" fmla="*/ 2084 w 2784"/>
                    <a:gd name="T17" fmla="*/ 0 h 1600"/>
                    <a:gd name="T18" fmla="*/ 1390 w 2784"/>
                    <a:gd name="T19" fmla="*/ 64 h 1600"/>
                    <a:gd name="T20" fmla="*/ 696 w 2784"/>
                    <a:gd name="T21" fmla="*/ 0 h 1600"/>
                    <a:gd name="T22" fmla="*/ 696 w 2784"/>
                    <a:gd name="T23" fmla="*/ 0 h 1600"/>
                    <a:gd name="T24" fmla="*/ 0 w 2784"/>
                    <a:gd name="T25" fmla="*/ 64 h 1600"/>
                    <a:gd name="T26" fmla="*/ 0 w 2784"/>
                    <a:gd name="T27" fmla="*/ 1600 h 1600"/>
                    <a:gd name="T28" fmla="*/ 696 w 2784"/>
                    <a:gd name="T29" fmla="*/ 1536 h 1600"/>
                    <a:gd name="T30" fmla="*/ 1392 w 2784"/>
                    <a:gd name="T31" fmla="*/ 1600 h 1600"/>
                    <a:gd name="T32" fmla="*/ 2084 w 2784"/>
                    <a:gd name="T33" fmla="*/ 1536 h 1600"/>
                    <a:gd name="T34" fmla="*/ 2784 w 2784"/>
                    <a:gd name="T35" fmla="*/ 1600 h 1600"/>
                    <a:gd name="T36" fmla="*/ 2784 w 2784"/>
                    <a:gd name="T37" fmla="*/ 64 h 1600"/>
                    <a:gd name="T38" fmla="*/ 2084 w 2784"/>
                    <a:gd name="T39" fmla="*/ 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4" h="1600">
                      <a:moveTo>
                        <a:pt x="696" y="0"/>
                      </a:moveTo>
                      <a:cubicBezTo>
                        <a:pt x="696" y="0"/>
                        <a:pt x="696" y="0"/>
                        <a:pt x="696" y="0"/>
                      </a:cubicBezTo>
                      <a:moveTo>
                        <a:pt x="696" y="0"/>
                      </a:moveTo>
                      <a:cubicBezTo>
                        <a:pt x="696" y="0"/>
                        <a:pt x="696" y="0"/>
                        <a:pt x="696" y="0"/>
                      </a:cubicBezTo>
                      <a:cubicBezTo>
                        <a:pt x="696" y="0"/>
                        <a:pt x="696" y="0"/>
                        <a:pt x="696" y="0"/>
                      </a:cubicBezTo>
                      <a:moveTo>
                        <a:pt x="2084" y="0"/>
                      </a:moveTo>
                      <a:cubicBezTo>
                        <a:pt x="2084" y="0"/>
                        <a:pt x="2084" y="0"/>
                        <a:pt x="2084" y="0"/>
                      </a:cubicBezTo>
                      <a:cubicBezTo>
                        <a:pt x="2084" y="0"/>
                        <a:pt x="2084" y="0"/>
                        <a:pt x="2084" y="0"/>
                      </a:cubicBezTo>
                      <a:cubicBezTo>
                        <a:pt x="2084" y="0"/>
                        <a:pt x="2084" y="0"/>
                        <a:pt x="2084" y="0"/>
                      </a:cubicBezTo>
                      <a:cubicBezTo>
                        <a:pt x="1390" y="64"/>
                        <a:pt x="1390" y="64"/>
                        <a:pt x="1390" y="64"/>
                      </a:cubicBezTo>
                      <a:cubicBezTo>
                        <a:pt x="696" y="0"/>
                        <a:pt x="696" y="0"/>
                        <a:pt x="696" y="0"/>
                      </a:cubicBezTo>
                      <a:cubicBezTo>
                        <a:pt x="696" y="0"/>
                        <a:pt x="696" y="0"/>
                        <a:pt x="696" y="0"/>
                      </a:cubicBezTo>
                      <a:cubicBezTo>
                        <a:pt x="0" y="64"/>
                        <a:pt x="0" y="64"/>
                        <a:pt x="0" y="64"/>
                      </a:cubicBezTo>
                      <a:cubicBezTo>
                        <a:pt x="0" y="576"/>
                        <a:pt x="0" y="1088"/>
                        <a:pt x="0" y="1600"/>
                      </a:cubicBezTo>
                      <a:cubicBezTo>
                        <a:pt x="696" y="1536"/>
                        <a:pt x="696" y="1536"/>
                        <a:pt x="696" y="1536"/>
                      </a:cubicBezTo>
                      <a:cubicBezTo>
                        <a:pt x="1392" y="1600"/>
                        <a:pt x="1392" y="1600"/>
                        <a:pt x="1392" y="1600"/>
                      </a:cubicBezTo>
                      <a:cubicBezTo>
                        <a:pt x="2084" y="1536"/>
                        <a:pt x="2084" y="1536"/>
                        <a:pt x="2084" y="1536"/>
                      </a:cubicBezTo>
                      <a:cubicBezTo>
                        <a:pt x="2784" y="1600"/>
                        <a:pt x="2784" y="1600"/>
                        <a:pt x="2784" y="1600"/>
                      </a:cubicBezTo>
                      <a:cubicBezTo>
                        <a:pt x="2784" y="1088"/>
                        <a:pt x="2784" y="576"/>
                        <a:pt x="2784" y="64"/>
                      </a:cubicBezTo>
                      <a:cubicBezTo>
                        <a:pt x="2084" y="0"/>
                        <a:pt x="2084" y="0"/>
                        <a:pt x="2084" y="0"/>
                      </a:cubicBezTo>
                    </a:path>
                  </a:pathLst>
                </a:custGeom>
                <a:solidFill>
                  <a:schemeClr val="accent1"/>
                </a:solidFill>
                <a:ln>
                  <a:noFill/>
                </a:ln>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nvGrpSpPr>
              <p:cNvPr id="9" name="Group 8"/>
              <p:cNvGrpSpPr/>
              <p:nvPr/>
            </p:nvGrpSpPr>
            <p:grpSpPr>
              <a:xfrm>
                <a:off x="2503488" y="152878"/>
                <a:ext cx="6226175" cy="4772025"/>
                <a:chOff x="1458913" y="1041400"/>
                <a:chExt cx="6226175" cy="4772025"/>
              </a:xfrm>
              <a:solidFill>
                <a:srgbClr val="000000">
                  <a:alpha val="10196"/>
                </a:srgbClr>
              </a:solidFill>
            </p:grpSpPr>
            <p:sp>
              <p:nvSpPr>
                <p:cNvPr id="10" name="Freeform 17"/>
                <p:cNvSpPr>
                  <a:spLocks/>
                </p:cNvSpPr>
                <p:nvPr/>
              </p:nvSpPr>
              <p:spPr bwMode="auto">
                <a:xfrm>
                  <a:off x="1458913" y="1041400"/>
                  <a:ext cx="2082800" cy="4772025"/>
                </a:xfrm>
                <a:custGeom>
                  <a:avLst/>
                  <a:gdLst>
                    <a:gd name="T0" fmla="*/ 0 w 698"/>
                    <a:gd name="T1" fmla="*/ 0 h 1600"/>
                    <a:gd name="T2" fmla="*/ 1 w 698"/>
                    <a:gd name="T3" fmla="*/ 1536 h 1600"/>
                    <a:gd name="T4" fmla="*/ 698 w 698"/>
                    <a:gd name="T5" fmla="*/ 1600 h 1600"/>
                    <a:gd name="T6" fmla="*/ 698 w 698"/>
                    <a:gd name="T7" fmla="*/ 64 h 1600"/>
                    <a:gd name="T8" fmla="*/ 0 w 698"/>
                    <a:gd name="T9" fmla="*/ 0 h 1600"/>
                  </a:gdLst>
                  <a:ahLst/>
                  <a:cxnLst>
                    <a:cxn ang="0">
                      <a:pos x="T0" y="T1"/>
                    </a:cxn>
                    <a:cxn ang="0">
                      <a:pos x="T2" y="T3"/>
                    </a:cxn>
                    <a:cxn ang="0">
                      <a:pos x="T4" y="T5"/>
                    </a:cxn>
                    <a:cxn ang="0">
                      <a:pos x="T6" y="T7"/>
                    </a:cxn>
                    <a:cxn ang="0">
                      <a:pos x="T8" y="T9"/>
                    </a:cxn>
                  </a:cxnLst>
                  <a:rect l="0" t="0" r="r" b="b"/>
                  <a:pathLst>
                    <a:path w="698" h="1600">
                      <a:moveTo>
                        <a:pt x="0" y="0"/>
                      </a:moveTo>
                      <a:cubicBezTo>
                        <a:pt x="0" y="512"/>
                        <a:pt x="1" y="1024"/>
                        <a:pt x="1" y="1536"/>
                      </a:cubicBezTo>
                      <a:cubicBezTo>
                        <a:pt x="698" y="1600"/>
                        <a:pt x="698" y="1600"/>
                        <a:pt x="698" y="1600"/>
                      </a:cubicBezTo>
                      <a:cubicBezTo>
                        <a:pt x="698" y="1088"/>
                        <a:pt x="698" y="576"/>
                        <a:pt x="698" y="64"/>
                      </a:cubicBezTo>
                      <a:cubicBezTo>
                        <a:pt x="0" y="0"/>
                        <a:pt x="0" y="0"/>
                        <a:pt x="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sp>
              <p:nvSpPr>
                <p:cNvPr id="11" name="Freeform 18"/>
                <p:cNvSpPr>
                  <a:spLocks/>
                </p:cNvSpPr>
                <p:nvPr/>
              </p:nvSpPr>
              <p:spPr bwMode="auto">
                <a:xfrm>
                  <a:off x="5605463" y="1041400"/>
                  <a:ext cx="2079625" cy="4772025"/>
                </a:xfrm>
                <a:custGeom>
                  <a:avLst/>
                  <a:gdLst>
                    <a:gd name="T0" fmla="*/ 0 w 697"/>
                    <a:gd name="T1" fmla="*/ 0 h 1600"/>
                    <a:gd name="T2" fmla="*/ 0 w 697"/>
                    <a:gd name="T3" fmla="*/ 1536 h 1600"/>
                    <a:gd name="T4" fmla="*/ 697 w 697"/>
                    <a:gd name="T5" fmla="*/ 1600 h 1600"/>
                    <a:gd name="T6" fmla="*/ 697 w 697"/>
                    <a:gd name="T7" fmla="*/ 64 h 1600"/>
                    <a:gd name="T8" fmla="*/ 0 w 697"/>
                    <a:gd name="T9" fmla="*/ 0 h 1600"/>
                  </a:gdLst>
                  <a:ahLst/>
                  <a:cxnLst>
                    <a:cxn ang="0">
                      <a:pos x="T0" y="T1"/>
                    </a:cxn>
                    <a:cxn ang="0">
                      <a:pos x="T2" y="T3"/>
                    </a:cxn>
                    <a:cxn ang="0">
                      <a:pos x="T4" y="T5"/>
                    </a:cxn>
                    <a:cxn ang="0">
                      <a:pos x="T6" y="T7"/>
                    </a:cxn>
                    <a:cxn ang="0">
                      <a:pos x="T8" y="T9"/>
                    </a:cxn>
                  </a:cxnLst>
                  <a:rect l="0" t="0" r="r" b="b"/>
                  <a:pathLst>
                    <a:path w="697" h="1600">
                      <a:moveTo>
                        <a:pt x="0" y="0"/>
                      </a:moveTo>
                      <a:cubicBezTo>
                        <a:pt x="0" y="512"/>
                        <a:pt x="0" y="1024"/>
                        <a:pt x="0" y="1536"/>
                      </a:cubicBezTo>
                      <a:cubicBezTo>
                        <a:pt x="697" y="1600"/>
                        <a:pt x="697" y="1600"/>
                        <a:pt x="697" y="1600"/>
                      </a:cubicBezTo>
                      <a:cubicBezTo>
                        <a:pt x="697" y="1088"/>
                        <a:pt x="697" y="576"/>
                        <a:pt x="697" y="64"/>
                      </a:cubicBezTo>
                      <a:cubicBezTo>
                        <a:pt x="0" y="0"/>
                        <a:pt x="0" y="0"/>
                        <a:pt x="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grpSp>
          <p:nvGrpSpPr>
            <p:cNvPr id="20" name="Group 19">
              <a:extLst>
                <a:ext uri="{FF2B5EF4-FFF2-40B4-BE49-F238E27FC236}">
                  <a16:creationId xmlns:a16="http://schemas.microsoft.com/office/drawing/2014/main" xmlns="" id="{BC5E9855-FE2A-4AF4-9A14-7A7DC7A2CF90}"/>
                </a:ext>
              </a:extLst>
            </p:cNvPr>
            <p:cNvGrpSpPr>
              <a:grpSpLocks noChangeAspect="1"/>
            </p:cNvGrpSpPr>
            <p:nvPr userDrawn="1"/>
          </p:nvGrpSpPr>
          <p:grpSpPr>
            <a:xfrm rot="8100000" flipH="1" flipV="1">
              <a:off x="350904" y="2720426"/>
              <a:ext cx="471488" cy="153360"/>
              <a:chOff x="11661248" y="7789719"/>
              <a:chExt cx="1293156" cy="420621"/>
            </a:xfrm>
          </p:grpSpPr>
          <p:cxnSp>
            <p:nvCxnSpPr>
              <p:cNvPr id="21" name="Straight Connector 20">
                <a:extLst>
                  <a:ext uri="{FF2B5EF4-FFF2-40B4-BE49-F238E27FC236}">
                    <a16:creationId xmlns:a16="http://schemas.microsoft.com/office/drawing/2014/main" xmlns="" id="{7F274217-FA12-4455-BE99-23779DE9F6A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86F17B3F-1D10-44AF-8DE0-2A60A4CEB140}"/>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A8B415E1-1399-4307-82B2-BC2FDA46980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57448128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isyDeck Master - 54">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xmlns="" id="{591C262C-55CA-4821-9EC5-5ADF59C5ECF9}"/>
              </a:ext>
            </a:extLst>
          </p:cNvPr>
          <p:cNvSpPr/>
          <p:nvPr userDrawn="1"/>
        </p:nvSpPr>
        <p:spPr>
          <a:xfrm>
            <a:off x="1269014" y="0"/>
            <a:ext cx="7443186" cy="6372225"/>
          </a:xfrm>
          <a:custGeom>
            <a:avLst/>
            <a:gdLst>
              <a:gd name="connsiteX0" fmla="*/ 4182493 w 20833596"/>
              <a:gd name="connsiteY0" fmla="*/ 0 h 13717588"/>
              <a:gd name="connsiteX1" fmla="*/ 6524338 w 20833596"/>
              <a:gd name="connsiteY1" fmla="*/ 0 h 13717588"/>
              <a:gd name="connsiteX2" fmla="*/ 7456667 w 20833596"/>
              <a:gd name="connsiteY2" fmla="*/ 0 h 13717588"/>
              <a:gd name="connsiteX3" fmla="*/ 11735742 w 20833596"/>
              <a:gd name="connsiteY3" fmla="*/ 0 h 13717588"/>
              <a:gd name="connsiteX4" fmla="*/ 17552514 w 20833596"/>
              <a:gd name="connsiteY4" fmla="*/ 0 h 13717588"/>
              <a:gd name="connsiteX5" fmla="*/ 20833596 w 20833596"/>
              <a:gd name="connsiteY5" fmla="*/ 0 h 13717588"/>
              <a:gd name="connsiteX6" fmla="*/ 20833596 w 20833596"/>
              <a:gd name="connsiteY6" fmla="*/ 13717588 h 13717588"/>
              <a:gd name="connsiteX7" fmla="*/ 17552514 w 20833596"/>
              <a:gd name="connsiteY7" fmla="*/ 13717588 h 13717588"/>
              <a:gd name="connsiteX8" fmla="*/ 15918236 w 20833596"/>
              <a:gd name="connsiteY8" fmla="*/ 13717588 h 13717588"/>
              <a:gd name="connsiteX9" fmla="*/ 7456667 w 20833596"/>
              <a:gd name="connsiteY9" fmla="*/ 13717588 h 13717588"/>
              <a:gd name="connsiteX10" fmla="*/ 6524338 w 20833596"/>
              <a:gd name="connsiteY10" fmla="*/ 13717588 h 13717588"/>
              <a:gd name="connsiteX11" fmla="*/ 0 w 20833596"/>
              <a:gd name="connsiteY11" fmla="*/ 13717588 h 13717588"/>
              <a:gd name="connsiteX12" fmla="*/ 899038 w 20833596"/>
              <a:gd name="connsiteY12" fmla="*/ 10768962 h 13717588"/>
              <a:gd name="connsiteX13" fmla="*/ 963519 w 20833596"/>
              <a:gd name="connsiteY13" fmla="*/ 10770592 h 13717588"/>
              <a:gd name="connsiteX14" fmla="*/ 4890060 w 20833596"/>
              <a:gd name="connsiteY14" fmla="*/ 6844052 h 13717588"/>
              <a:gd name="connsiteX15" fmla="*/ 3158885 w 20833596"/>
              <a:gd name="connsiteY15" fmla="*/ 3588100 h 13717588"/>
              <a:gd name="connsiteX16" fmla="*/ 3099993 w 20833596"/>
              <a:gd name="connsiteY16" fmla="*/ 35503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33596" h="13717588">
                <a:moveTo>
                  <a:pt x="4182493" y="0"/>
                </a:moveTo>
                <a:lnTo>
                  <a:pt x="6524338" y="0"/>
                </a:lnTo>
                <a:lnTo>
                  <a:pt x="7456667" y="0"/>
                </a:lnTo>
                <a:lnTo>
                  <a:pt x="11735742" y="0"/>
                </a:lnTo>
                <a:lnTo>
                  <a:pt x="17552514" y="0"/>
                </a:lnTo>
                <a:lnTo>
                  <a:pt x="20833596" y="0"/>
                </a:lnTo>
                <a:lnTo>
                  <a:pt x="20833596" y="13717588"/>
                </a:lnTo>
                <a:lnTo>
                  <a:pt x="17552514" y="13717588"/>
                </a:lnTo>
                <a:lnTo>
                  <a:pt x="15918236" y="13717588"/>
                </a:lnTo>
                <a:lnTo>
                  <a:pt x="7456667" y="13717588"/>
                </a:lnTo>
                <a:lnTo>
                  <a:pt x="6524338" y="13717588"/>
                </a:lnTo>
                <a:lnTo>
                  <a:pt x="0" y="13717588"/>
                </a:lnTo>
                <a:lnTo>
                  <a:pt x="899038" y="10768962"/>
                </a:lnTo>
                <a:lnTo>
                  <a:pt x="963519" y="10770592"/>
                </a:lnTo>
                <a:cubicBezTo>
                  <a:pt x="3132087" y="10770592"/>
                  <a:pt x="4890060" y="9012619"/>
                  <a:pt x="4890060" y="6844052"/>
                </a:cubicBezTo>
                <a:cubicBezTo>
                  <a:pt x="4890060" y="5488697"/>
                  <a:pt x="4203352" y="4293728"/>
                  <a:pt x="3158885" y="3588100"/>
                </a:cubicBezTo>
                <a:lnTo>
                  <a:pt x="3099993" y="3550345"/>
                </a:lnTo>
                <a:close/>
              </a:path>
            </a:pathLst>
          </a:custGeom>
          <a:solidFill>
            <a:schemeClr val="bg2">
              <a:alpha val="3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61829694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aisyDeck Master - 55">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D6E95BB0-8179-4209-B5A0-31E9B49A0BAA}"/>
              </a:ext>
            </a:extLst>
          </p:cNvPr>
          <p:cNvSpPr/>
          <p:nvPr userDrawn="1"/>
        </p:nvSpPr>
        <p:spPr>
          <a:xfrm>
            <a:off x="0" y="4439220"/>
            <a:ext cx="8712200" cy="83287"/>
          </a:xfrm>
          <a:prstGeom prst="rect">
            <a:avLst/>
          </a:prstGeom>
          <a:solidFill>
            <a:schemeClr val="accent1">
              <a:lumMod val="20000"/>
              <a:lumOff val="8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Footer Placeholder 1">
            <a:extLst>
              <a:ext uri="{FF2B5EF4-FFF2-40B4-BE49-F238E27FC236}">
                <a16:creationId xmlns:a16="http://schemas.microsoft.com/office/drawing/2014/main" xmlns="" id="{377C44BA-EEF6-43E9-8DB5-645E256149CC}"/>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xmlns="" id="{F34093A5-F57C-4987-A75A-784458F0058C}"/>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2" name="Freeform: Shape 21">
            <a:extLst>
              <a:ext uri="{FF2B5EF4-FFF2-40B4-BE49-F238E27FC236}">
                <a16:creationId xmlns:a16="http://schemas.microsoft.com/office/drawing/2014/main" xmlns="" id="{CCAA8F42-C7CF-4447-B7FB-F74ABEC0DEAF}"/>
              </a:ext>
            </a:extLst>
          </p:cNvPr>
          <p:cNvSpPr/>
          <p:nvPr userDrawn="1"/>
        </p:nvSpPr>
        <p:spPr>
          <a:xfrm rot="10800000">
            <a:off x="0" y="0"/>
            <a:ext cx="8712200" cy="4851492"/>
          </a:xfrm>
          <a:custGeom>
            <a:avLst/>
            <a:gdLst>
              <a:gd name="connsiteX0" fmla="*/ 24385588 w 24385588"/>
              <a:gd name="connsiteY0" fmla="*/ 10443882 h 10443882"/>
              <a:gd name="connsiteX1" fmla="*/ 0 w 24385588"/>
              <a:gd name="connsiteY1" fmla="*/ 10443882 h 10443882"/>
              <a:gd name="connsiteX2" fmla="*/ 0 w 24385588"/>
              <a:gd name="connsiteY2" fmla="*/ 869576 h 10443882"/>
              <a:gd name="connsiteX3" fmla="*/ 21228885 w 24385588"/>
              <a:gd name="connsiteY3" fmla="*/ 869576 h 10443882"/>
              <a:gd name="connsiteX4" fmla="*/ 22081288 w 24385588"/>
              <a:gd name="connsiteY4" fmla="*/ 0 h 10443882"/>
              <a:gd name="connsiteX5" fmla="*/ 22933690 w 24385588"/>
              <a:gd name="connsiteY5" fmla="*/ 869576 h 10443882"/>
              <a:gd name="connsiteX6" fmla="*/ 24385588 w 24385588"/>
              <a:gd name="connsiteY6" fmla="*/ 869576 h 1044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5588" h="10443882">
                <a:moveTo>
                  <a:pt x="24385588" y="10443882"/>
                </a:moveTo>
                <a:lnTo>
                  <a:pt x="0" y="10443882"/>
                </a:lnTo>
                <a:lnTo>
                  <a:pt x="0" y="869576"/>
                </a:lnTo>
                <a:lnTo>
                  <a:pt x="21228885" y="869576"/>
                </a:lnTo>
                <a:lnTo>
                  <a:pt x="22081288" y="0"/>
                </a:lnTo>
                <a:lnTo>
                  <a:pt x="22933690" y="869576"/>
                </a:lnTo>
                <a:lnTo>
                  <a:pt x="24385588" y="869576"/>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36" name="Group 35">
            <a:extLst>
              <a:ext uri="{FF2B5EF4-FFF2-40B4-BE49-F238E27FC236}">
                <a16:creationId xmlns:a16="http://schemas.microsoft.com/office/drawing/2014/main" xmlns="" id="{D5C70763-48BE-4BA9-A939-F69C95C4D0B7}"/>
              </a:ext>
            </a:extLst>
          </p:cNvPr>
          <p:cNvGrpSpPr>
            <a:grpSpLocks noChangeAspect="1"/>
          </p:cNvGrpSpPr>
          <p:nvPr userDrawn="1"/>
        </p:nvGrpSpPr>
        <p:grpSpPr>
          <a:xfrm rot="8100000" flipH="1" flipV="1">
            <a:off x="-6413" y="81115"/>
            <a:ext cx="203928" cy="86245"/>
            <a:chOff x="11661248" y="7789719"/>
            <a:chExt cx="1293156" cy="420621"/>
          </a:xfrm>
        </p:grpSpPr>
        <p:cxnSp>
          <p:nvCxnSpPr>
            <p:cNvPr id="37" name="Straight Connector 36">
              <a:extLst>
                <a:ext uri="{FF2B5EF4-FFF2-40B4-BE49-F238E27FC236}">
                  <a16:creationId xmlns:a16="http://schemas.microsoft.com/office/drawing/2014/main" xmlns="" id="{689FCF2D-5202-4430-B390-1649C0FE285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3B3CE7AC-7299-419F-9947-AAF487F5A6E2}"/>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ECE812-95E6-4456-ACE1-E04153B36957}"/>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Freeform 79">
            <a:extLst>
              <a:ext uri="{FF2B5EF4-FFF2-40B4-BE49-F238E27FC236}">
                <a16:creationId xmlns:a16="http://schemas.microsoft.com/office/drawing/2014/main" xmlns="" id="{0B6C220F-2C87-4B1D-B0AB-41F41A389996}"/>
              </a:ext>
            </a:extLst>
          </p:cNvPr>
          <p:cNvSpPr>
            <a:spLocks noChangeAspect="1" noEditPoints="1"/>
          </p:cNvSpPr>
          <p:nvPr userDrawn="1"/>
        </p:nvSpPr>
        <p:spPr bwMode="auto">
          <a:xfrm>
            <a:off x="5448860" y="262741"/>
            <a:ext cx="2942798" cy="3826301"/>
          </a:xfrm>
          <a:custGeom>
            <a:avLst/>
            <a:gdLst>
              <a:gd name="T0" fmla="*/ 116 w 176"/>
              <a:gd name="T1" fmla="*/ 80 h 176"/>
              <a:gd name="T2" fmla="*/ 116 w 176"/>
              <a:gd name="T3" fmla="*/ 88 h 176"/>
              <a:gd name="T4" fmla="*/ 152 w 176"/>
              <a:gd name="T5" fmla="*/ 84 h 176"/>
              <a:gd name="T6" fmla="*/ 148 w 176"/>
              <a:gd name="T7" fmla="*/ 64 h 176"/>
              <a:gd name="T8" fmla="*/ 148 w 176"/>
              <a:gd name="T9" fmla="*/ 56 h 176"/>
              <a:gd name="T10" fmla="*/ 148 w 176"/>
              <a:gd name="T11" fmla="*/ 64 h 176"/>
              <a:gd name="T12" fmla="*/ 136 w 176"/>
              <a:gd name="T13" fmla="*/ 60 h 176"/>
              <a:gd name="T14" fmla="*/ 128 w 176"/>
              <a:gd name="T15" fmla="*/ 60 h 176"/>
              <a:gd name="T16" fmla="*/ 148 w 176"/>
              <a:gd name="T17" fmla="*/ 112 h 176"/>
              <a:gd name="T18" fmla="*/ 112 w 176"/>
              <a:gd name="T19" fmla="*/ 116 h 176"/>
              <a:gd name="T20" fmla="*/ 148 w 176"/>
              <a:gd name="T21" fmla="*/ 120 h 176"/>
              <a:gd name="T22" fmla="*/ 148 w 176"/>
              <a:gd name="T23" fmla="*/ 112 h 176"/>
              <a:gd name="T24" fmla="*/ 156 w 176"/>
              <a:gd name="T25" fmla="*/ 8 h 176"/>
              <a:gd name="T26" fmla="*/ 156 w 176"/>
              <a:gd name="T27" fmla="*/ 0 h 176"/>
              <a:gd name="T28" fmla="*/ 48 w 176"/>
              <a:gd name="T29" fmla="*/ 4 h 176"/>
              <a:gd name="T30" fmla="*/ 148 w 176"/>
              <a:gd name="T31" fmla="*/ 96 h 176"/>
              <a:gd name="T32" fmla="*/ 112 w 176"/>
              <a:gd name="T33" fmla="*/ 100 h 176"/>
              <a:gd name="T34" fmla="*/ 148 w 176"/>
              <a:gd name="T35" fmla="*/ 104 h 176"/>
              <a:gd name="T36" fmla="*/ 148 w 176"/>
              <a:gd name="T37" fmla="*/ 96 h 176"/>
              <a:gd name="T38" fmla="*/ 164 w 176"/>
              <a:gd name="T39" fmla="*/ 24 h 176"/>
              <a:gd name="T40" fmla="*/ 164 w 176"/>
              <a:gd name="T41" fmla="*/ 16 h 176"/>
              <a:gd name="T42" fmla="*/ 36 w 176"/>
              <a:gd name="T43" fmla="*/ 20 h 176"/>
              <a:gd name="T44" fmla="*/ 52 w 176"/>
              <a:gd name="T45" fmla="*/ 152 h 176"/>
              <a:gd name="T46" fmla="*/ 152 w 176"/>
              <a:gd name="T47" fmla="*/ 148 h 176"/>
              <a:gd name="T48" fmla="*/ 52 w 176"/>
              <a:gd name="T49" fmla="*/ 144 h 176"/>
              <a:gd name="T50" fmla="*/ 52 w 176"/>
              <a:gd name="T51" fmla="*/ 152 h 176"/>
              <a:gd name="T52" fmla="*/ 116 w 176"/>
              <a:gd name="T53" fmla="*/ 64 h 176"/>
              <a:gd name="T54" fmla="*/ 116 w 176"/>
              <a:gd name="T55" fmla="*/ 56 h 176"/>
              <a:gd name="T56" fmla="*/ 80 w 176"/>
              <a:gd name="T57" fmla="*/ 60 h 176"/>
              <a:gd name="T58" fmla="*/ 52 w 176"/>
              <a:gd name="T59" fmla="*/ 136 h 176"/>
              <a:gd name="T60" fmla="*/ 152 w 176"/>
              <a:gd name="T61" fmla="*/ 132 h 176"/>
              <a:gd name="T62" fmla="*/ 52 w 176"/>
              <a:gd name="T63" fmla="*/ 128 h 176"/>
              <a:gd name="T64" fmla="*/ 52 w 176"/>
              <a:gd name="T65" fmla="*/ 136 h 176"/>
              <a:gd name="T66" fmla="*/ 32 w 176"/>
              <a:gd name="T67" fmla="*/ 32 h 176"/>
              <a:gd name="T68" fmla="*/ 24 w 176"/>
              <a:gd name="T69" fmla="*/ 56 h 176"/>
              <a:gd name="T70" fmla="*/ 0 w 176"/>
              <a:gd name="T71" fmla="*/ 64 h 176"/>
              <a:gd name="T72" fmla="*/ 24 w 176"/>
              <a:gd name="T73" fmla="*/ 176 h 176"/>
              <a:gd name="T74" fmla="*/ 176 w 176"/>
              <a:gd name="T75" fmla="*/ 168 h 176"/>
              <a:gd name="T76" fmla="*/ 168 w 176"/>
              <a:gd name="T77" fmla="*/ 32 h 176"/>
              <a:gd name="T78" fmla="*/ 24 w 176"/>
              <a:gd name="T79" fmla="*/ 168 h 176"/>
              <a:gd name="T80" fmla="*/ 8 w 176"/>
              <a:gd name="T81" fmla="*/ 64 h 176"/>
              <a:gd name="T82" fmla="*/ 24 w 176"/>
              <a:gd name="T83" fmla="*/ 148 h 176"/>
              <a:gd name="T84" fmla="*/ 32 w 176"/>
              <a:gd name="T85" fmla="*/ 148 h 176"/>
              <a:gd name="T86" fmla="*/ 168 w 176"/>
              <a:gd name="T87" fmla="*/ 40 h 176"/>
              <a:gd name="T88" fmla="*/ 68 w 176"/>
              <a:gd name="T89" fmla="*/ 64 h 176"/>
              <a:gd name="T90" fmla="*/ 68 w 176"/>
              <a:gd name="T91" fmla="*/ 56 h 176"/>
              <a:gd name="T92" fmla="*/ 68 w 176"/>
              <a:gd name="T93" fmla="*/ 64 h 176"/>
              <a:gd name="T94" fmla="*/ 92 w 176"/>
              <a:gd name="T95" fmla="*/ 120 h 176"/>
              <a:gd name="T96" fmla="*/ 96 w 176"/>
              <a:gd name="T97" fmla="*/ 84 h 176"/>
              <a:gd name="T98" fmla="*/ 52 w 176"/>
              <a:gd name="T99" fmla="*/ 80 h 176"/>
              <a:gd name="T100" fmla="*/ 48 w 176"/>
              <a:gd name="T101" fmla="*/ 116 h 176"/>
              <a:gd name="T102" fmla="*/ 56 w 176"/>
              <a:gd name="T103" fmla="*/ 88 h 176"/>
              <a:gd name="T104" fmla="*/ 88 w 176"/>
              <a:gd name="T105" fmla="*/ 112 h 176"/>
              <a:gd name="T106" fmla="*/ 56 w 176"/>
              <a:gd name="T107" fmla="*/ 88 h 176"/>
              <a:gd name="T108" fmla="*/ 56 w 176"/>
              <a:gd name="T109" fmla="*/ 60 h 176"/>
              <a:gd name="T110" fmla="*/ 48 w 176"/>
              <a:gd name="T111" fmla="*/ 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76">
                <a:moveTo>
                  <a:pt x="148" y="80"/>
                </a:moveTo>
                <a:cubicBezTo>
                  <a:pt x="116" y="80"/>
                  <a:pt x="116" y="80"/>
                  <a:pt x="116" y="80"/>
                </a:cubicBezTo>
                <a:cubicBezTo>
                  <a:pt x="114" y="80"/>
                  <a:pt x="112" y="82"/>
                  <a:pt x="112" y="84"/>
                </a:cubicBezTo>
                <a:cubicBezTo>
                  <a:pt x="112" y="86"/>
                  <a:pt x="114" y="88"/>
                  <a:pt x="116" y="88"/>
                </a:cubicBezTo>
                <a:cubicBezTo>
                  <a:pt x="148" y="88"/>
                  <a:pt x="148" y="88"/>
                  <a:pt x="148" y="88"/>
                </a:cubicBezTo>
                <a:cubicBezTo>
                  <a:pt x="150" y="88"/>
                  <a:pt x="152" y="86"/>
                  <a:pt x="152" y="84"/>
                </a:cubicBezTo>
                <a:cubicBezTo>
                  <a:pt x="152" y="82"/>
                  <a:pt x="150" y="80"/>
                  <a:pt x="148" y="80"/>
                </a:cubicBezTo>
                <a:moveTo>
                  <a:pt x="148" y="64"/>
                </a:moveTo>
                <a:cubicBezTo>
                  <a:pt x="150" y="64"/>
                  <a:pt x="152" y="62"/>
                  <a:pt x="152" y="60"/>
                </a:cubicBezTo>
                <a:cubicBezTo>
                  <a:pt x="152" y="58"/>
                  <a:pt x="150" y="56"/>
                  <a:pt x="148" y="56"/>
                </a:cubicBezTo>
                <a:cubicBezTo>
                  <a:pt x="146" y="56"/>
                  <a:pt x="144" y="58"/>
                  <a:pt x="144" y="60"/>
                </a:cubicBezTo>
                <a:cubicBezTo>
                  <a:pt x="144" y="62"/>
                  <a:pt x="146" y="64"/>
                  <a:pt x="148" y="64"/>
                </a:cubicBezTo>
                <a:moveTo>
                  <a:pt x="132" y="64"/>
                </a:moveTo>
                <a:cubicBezTo>
                  <a:pt x="134" y="64"/>
                  <a:pt x="136" y="62"/>
                  <a:pt x="136" y="60"/>
                </a:cubicBezTo>
                <a:cubicBezTo>
                  <a:pt x="136" y="58"/>
                  <a:pt x="134" y="56"/>
                  <a:pt x="132" y="56"/>
                </a:cubicBezTo>
                <a:cubicBezTo>
                  <a:pt x="130" y="56"/>
                  <a:pt x="128" y="58"/>
                  <a:pt x="128" y="60"/>
                </a:cubicBezTo>
                <a:cubicBezTo>
                  <a:pt x="128" y="62"/>
                  <a:pt x="130" y="64"/>
                  <a:pt x="132" y="64"/>
                </a:cubicBezTo>
                <a:moveTo>
                  <a:pt x="148" y="112"/>
                </a:moveTo>
                <a:cubicBezTo>
                  <a:pt x="116" y="112"/>
                  <a:pt x="116" y="112"/>
                  <a:pt x="116" y="112"/>
                </a:cubicBezTo>
                <a:cubicBezTo>
                  <a:pt x="114" y="112"/>
                  <a:pt x="112" y="114"/>
                  <a:pt x="112" y="116"/>
                </a:cubicBezTo>
                <a:cubicBezTo>
                  <a:pt x="112" y="118"/>
                  <a:pt x="114" y="120"/>
                  <a:pt x="116" y="120"/>
                </a:cubicBezTo>
                <a:cubicBezTo>
                  <a:pt x="148" y="120"/>
                  <a:pt x="148" y="120"/>
                  <a:pt x="148" y="120"/>
                </a:cubicBezTo>
                <a:cubicBezTo>
                  <a:pt x="150" y="120"/>
                  <a:pt x="152" y="118"/>
                  <a:pt x="152" y="116"/>
                </a:cubicBezTo>
                <a:cubicBezTo>
                  <a:pt x="152" y="114"/>
                  <a:pt x="150" y="112"/>
                  <a:pt x="148" y="112"/>
                </a:cubicBezTo>
                <a:moveTo>
                  <a:pt x="52" y="8"/>
                </a:moveTo>
                <a:cubicBezTo>
                  <a:pt x="156" y="8"/>
                  <a:pt x="156" y="8"/>
                  <a:pt x="156" y="8"/>
                </a:cubicBezTo>
                <a:cubicBezTo>
                  <a:pt x="158" y="8"/>
                  <a:pt x="160" y="6"/>
                  <a:pt x="160" y="4"/>
                </a:cubicBezTo>
                <a:cubicBezTo>
                  <a:pt x="160" y="2"/>
                  <a:pt x="158" y="0"/>
                  <a:pt x="156" y="0"/>
                </a:cubicBezTo>
                <a:cubicBezTo>
                  <a:pt x="52" y="0"/>
                  <a:pt x="52" y="0"/>
                  <a:pt x="52" y="0"/>
                </a:cubicBezTo>
                <a:cubicBezTo>
                  <a:pt x="50" y="0"/>
                  <a:pt x="48" y="2"/>
                  <a:pt x="48" y="4"/>
                </a:cubicBezTo>
                <a:cubicBezTo>
                  <a:pt x="48" y="6"/>
                  <a:pt x="50" y="8"/>
                  <a:pt x="52" y="8"/>
                </a:cubicBezTo>
                <a:moveTo>
                  <a:pt x="148" y="96"/>
                </a:moveTo>
                <a:cubicBezTo>
                  <a:pt x="116" y="96"/>
                  <a:pt x="116" y="96"/>
                  <a:pt x="116" y="96"/>
                </a:cubicBezTo>
                <a:cubicBezTo>
                  <a:pt x="114" y="96"/>
                  <a:pt x="112" y="98"/>
                  <a:pt x="112" y="100"/>
                </a:cubicBezTo>
                <a:cubicBezTo>
                  <a:pt x="112" y="102"/>
                  <a:pt x="114" y="104"/>
                  <a:pt x="116" y="104"/>
                </a:cubicBezTo>
                <a:cubicBezTo>
                  <a:pt x="148" y="104"/>
                  <a:pt x="148" y="104"/>
                  <a:pt x="148" y="104"/>
                </a:cubicBezTo>
                <a:cubicBezTo>
                  <a:pt x="150" y="104"/>
                  <a:pt x="152" y="102"/>
                  <a:pt x="152" y="100"/>
                </a:cubicBezTo>
                <a:cubicBezTo>
                  <a:pt x="152" y="98"/>
                  <a:pt x="150" y="96"/>
                  <a:pt x="148" y="96"/>
                </a:cubicBezTo>
                <a:moveTo>
                  <a:pt x="40" y="24"/>
                </a:moveTo>
                <a:cubicBezTo>
                  <a:pt x="164" y="24"/>
                  <a:pt x="164" y="24"/>
                  <a:pt x="164" y="24"/>
                </a:cubicBezTo>
                <a:cubicBezTo>
                  <a:pt x="166" y="24"/>
                  <a:pt x="168" y="22"/>
                  <a:pt x="168" y="20"/>
                </a:cubicBezTo>
                <a:cubicBezTo>
                  <a:pt x="168" y="18"/>
                  <a:pt x="166" y="16"/>
                  <a:pt x="164" y="16"/>
                </a:cubicBezTo>
                <a:cubicBezTo>
                  <a:pt x="40" y="16"/>
                  <a:pt x="40" y="16"/>
                  <a:pt x="40" y="16"/>
                </a:cubicBezTo>
                <a:cubicBezTo>
                  <a:pt x="38" y="16"/>
                  <a:pt x="36" y="18"/>
                  <a:pt x="36" y="20"/>
                </a:cubicBezTo>
                <a:cubicBezTo>
                  <a:pt x="36" y="22"/>
                  <a:pt x="38" y="24"/>
                  <a:pt x="40" y="24"/>
                </a:cubicBezTo>
                <a:moveTo>
                  <a:pt x="52" y="152"/>
                </a:moveTo>
                <a:cubicBezTo>
                  <a:pt x="148" y="152"/>
                  <a:pt x="148" y="152"/>
                  <a:pt x="148" y="152"/>
                </a:cubicBezTo>
                <a:cubicBezTo>
                  <a:pt x="150" y="152"/>
                  <a:pt x="152" y="150"/>
                  <a:pt x="152" y="148"/>
                </a:cubicBezTo>
                <a:cubicBezTo>
                  <a:pt x="152" y="146"/>
                  <a:pt x="150" y="144"/>
                  <a:pt x="148" y="144"/>
                </a:cubicBezTo>
                <a:cubicBezTo>
                  <a:pt x="52" y="144"/>
                  <a:pt x="52" y="144"/>
                  <a:pt x="52" y="144"/>
                </a:cubicBezTo>
                <a:cubicBezTo>
                  <a:pt x="50" y="144"/>
                  <a:pt x="48" y="146"/>
                  <a:pt x="48" y="148"/>
                </a:cubicBezTo>
                <a:cubicBezTo>
                  <a:pt x="48" y="150"/>
                  <a:pt x="50" y="152"/>
                  <a:pt x="52" y="152"/>
                </a:cubicBezTo>
                <a:moveTo>
                  <a:pt x="84" y="64"/>
                </a:moveTo>
                <a:cubicBezTo>
                  <a:pt x="116" y="64"/>
                  <a:pt x="116" y="64"/>
                  <a:pt x="116" y="64"/>
                </a:cubicBezTo>
                <a:cubicBezTo>
                  <a:pt x="118" y="64"/>
                  <a:pt x="120" y="62"/>
                  <a:pt x="120" y="60"/>
                </a:cubicBezTo>
                <a:cubicBezTo>
                  <a:pt x="120" y="58"/>
                  <a:pt x="118" y="56"/>
                  <a:pt x="116" y="56"/>
                </a:cubicBezTo>
                <a:cubicBezTo>
                  <a:pt x="84" y="56"/>
                  <a:pt x="84" y="56"/>
                  <a:pt x="84" y="56"/>
                </a:cubicBezTo>
                <a:cubicBezTo>
                  <a:pt x="82" y="56"/>
                  <a:pt x="80" y="58"/>
                  <a:pt x="80" y="60"/>
                </a:cubicBezTo>
                <a:cubicBezTo>
                  <a:pt x="80" y="62"/>
                  <a:pt x="82" y="64"/>
                  <a:pt x="84" y="64"/>
                </a:cubicBezTo>
                <a:moveTo>
                  <a:pt x="52" y="136"/>
                </a:moveTo>
                <a:cubicBezTo>
                  <a:pt x="148" y="136"/>
                  <a:pt x="148" y="136"/>
                  <a:pt x="148" y="136"/>
                </a:cubicBezTo>
                <a:cubicBezTo>
                  <a:pt x="150" y="136"/>
                  <a:pt x="152" y="134"/>
                  <a:pt x="152" y="132"/>
                </a:cubicBezTo>
                <a:cubicBezTo>
                  <a:pt x="152" y="130"/>
                  <a:pt x="150" y="128"/>
                  <a:pt x="148" y="128"/>
                </a:cubicBezTo>
                <a:cubicBezTo>
                  <a:pt x="52" y="128"/>
                  <a:pt x="52" y="128"/>
                  <a:pt x="52" y="128"/>
                </a:cubicBezTo>
                <a:cubicBezTo>
                  <a:pt x="50" y="128"/>
                  <a:pt x="48" y="130"/>
                  <a:pt x="48" y="132"/>
                </a:cubicBezTo>
                <a:cubicBezTo>
                  <a:pt x="48" y="134"/>
                  <a:pt x="50" y="136"/>
                  <a:pt x="52" y="136"/>
                </a:cubicBezTo>
                <a:moveTo>
                  <a:pt x="168" y="32"/>
                </a:moveTo>
                <a:cubicBezTo>
                  <a:pt x="32" y="32"/>
                  <a:pt x="32" y="32"/>
                  <a:pt x="32" y="32"/>
                </a:cubicBezTo>
                <a:cubicBezTo>
                  <a:pt x="28" y="32"/>
                  <a:pt x="24" y="36"/>
                  <a:pt x="24" y="40"/>
                </a:cubicBezTo>
                <a:cubicBezTo>
                  <a:pt x="24" y="56"/>
                  <a:pt x="24" y="56"/>
                  <a:pt x="24" y="56"/>
                </a:cubicBezTo>
                <a:cubicBezTo>
                  <a:pt x="8" y="56"/>
                  <a:pt x="8" y="56"/>
                  <a:pt x="8" y="56"/>
                </a:cubicBezTo>
                <a:cubicBezTo>
                  <a:pt x="4" y="56"/>
                  <a:pt x="0" y="60"/>
                  <a:pt x="0" y="64"/>
                </a:cubicBezTo>
                <a:cubicBezTo>
                  <a:pt x="0" y="152"/>
                  <a:pt x="0" y="152"/>
                  <a:pt x="0" y="152"/>
                </a:cubicBezTo>
                <a:cubicBezTo>
                  <a:pt x="0" y="165"/>
                  <a:pt x="11" y="176"/>
                  <a:pt x="24" y="176"/>
                </a:cubicBezTo>
                <a:cubicBezTo>
                  <a:pt x="168" y="176"/>
                  <a:pt x="168" y="176"/>
                  <a:pt x="168" y="176"/>
                </a:cubicBezTo>
                <a:cubicBezTo>
                  <a:pt x="172" y="176"/>
                  <a:pt x="176" y="172"/>
                  <a:pt x="176" y="168"/>
                </a:cubicBezTo>
                <a:cubicBezTo>
                  <a:pt x="176" y="40"/>
                  <a:pt x="176" y="40"/>
                  <a:pt x="176" y="40"/>
                </a:cubicBezTo>
                <a:cubicBezTo>
                  <a:pt x="176" y="36"/>
                  <a:pt x="172" y="32"/>
                  <a:pt x="168" y="32"/>
                </a:cubicBezTo>
                <a:moveTo>
                  <a:pt x="168" y="168"/>
                </a:moveTo>
                <a:cubicBezTo>
                  <a:pt x="24" y="168"/>
                  <a:pt x="24" y="168"/>
                  <a:pt x="24" y="168"/>
                </a:cubicBezTo>
                <a:cubicBezTo>
                  <a:pt x="15" y="168"/>
                  <a:pt x="8" y="161"/>
                  <a:pt x="8" y="152"/>
                </a:cubicBezTo>
                <a:cubicBezTo>
                  <a:pt x="8" y="64"/>
                  <a:pt x="8" y="64"/>
                  <a:pt x="8" y="64"/>
                </a:cubicBezTo>
                <a:cubicBezTo>
                  <a:pt x="24" y="64"/>
                  <a:pt x="24" y="64"/>
                  <a:pt x="24" y="64"/>
                </a:cubicBezTo>
                <a:cubicBezTo>
                  <a:pt x="24" y="148"/>
                  <a:pt x="24" y="148"/>
                  <a:pt x="24" y="148"/>
                </a:cubicBezTo>
                <a:cubicBezTo>
                  <a:pt x="24" y="150"/>
                  <a:pt x="26" y="152"/>
                  <a:pt x="28" y="152"/>
                </a:cubicBezTo>
                <a:cubicBezTo>
                  <a:pt x="30" y="152"/>
                  <a:pt x="32" y="150"/>
                  <a:pt x="32" y="148"/>
                </a:cubicBezTo>
                <a:cubicBezTo>
                  <a:pt x="32" y="40"/>
                  <a:pt x="32" y="40"/>
                  <a:pt x="32" y="40"/>
                </a:cubicBezTo>
                <a:cubicBezTo>
                  <a:pt x="168" y="40"/>
                  <a:pt x="168" y="40"/>
                  <a:pt x="168" y="40"/>
                </a:cubicBezTo>
                <a:lnTo>
                  <a:pt x="168" y="168"/>
                </a:lnTo>
                <a:close/>
                <a:moveTo>
                  <a:pt x="68" y="64"/>
                </a:moveTo>
                <a:cubicBezTo>
                  <a:pt x="70" y="64"/>
                  <a:pt x="72" y="62"/>
                  <a:pt x="72" y="60"/>
                </a:cubicBezTo>
                <a:cubicBezTo>
                  <a:pt x="72" y="58"/>
                  <a:pt x="70" y="56"/>
                  <a:pt x="68" y="56"/>
                </a:cubicBezTo>
                <a:cubicBezTo>
                  <a:pt x="66" y="56"/>
                  <a:pt x="64" y="58"/>
                  <a:pt x="64" y="60"/>
                </a:cubicBezTo>
                <a:cubicBezTo>
                  <a:pt x="64" y="62"/>
                  <a:pt x="66" y="64"/>
                  <a:pt x="68" y="64"/>
                </a:cubicBezTo>
                <a:moveTo>
                  <a:pt x="52" y="120"/>
                </a:moveTo>
                <a:cubicBezTo>
                  <a:pt x="92" y="120"/>
                  <a:pt x="92" y="120"/>
                  <a:pt x="92" y="120"/>
                </a:cubicBezTo>
                <a:cubicBezTo>
                  <a:pt x="94" y="120"/>
                  <a:pt x="96" y="118"/>
                  <a:pt x="96" y="116"/>
                </a:cubicBezTo>
                <a:cubicBezTo>
                  <a:pt x="96" y="84"/>
                  <a:pt x="96" y="84"/>
                  <a:pt x="96" y="84"/>
                </a:cubicBezTo>
                <a:cubicBezTo>
                  <a:pt x="96" y="82"/>
                  <a:pt x="94" y="80"/>
                  <a:pt x="92" y="80"/>
                </a:cubicBezTo>
                <a:cubicBezTo>
                  <a:pt x="52" y="80"/>
                  <a:pt x="52" y="80"/>
                  <a:pt x="52" y="80"/>
                </a:cubicBezTo>
                <a:cubicBezTo>
                  <a:pt x="50" y="80"/>
                  <a:pt x="48" y="82"/>
                  <a:pt x="48" y="84"/>
                </a:cubicBezTo>
                <a:cubicBezTo>
                  <a:pt x="48" y="116"/>
                  <a:pt x="48" y="116"/>
                  <a:pt x="48" y="116"/>
                </a:cubicBezTo>
                <a:cubicBezTo>
                  <a:pt x="48" y="118"/>
                  <a:pt x="50" y="120"/>
                  <a:pt x="52" y="120"/>
                </a:cubicBezTo>
                <a:moveTo>
                  <a:pt x="56" y="88"/>
                </a:moveTo>
                <a:cubicBezTo>
                  <a:pt x="88" y="88"/>
                  <a:pt x="88" y="88"/>
                  <a:pt x="88" y="88"/>
                </a:cubicBezTo>
                <a:cubicBezTo>
                  <a:pt x="88" y="112"/>
                  <a:pt x="88" y="112"/>
                  <a:pt x="88" y="112"/>
                </a:cubicBezTo>
                <a:cubicBezTo>
                  <a:pt x="56" y="112"/>
                  <a:pt x="56" y="112"/>
                  <a:pt x="56" y="112"/>
                </a:cubicBezTo>
                <a:lnTo>
                  <a:pt x="56" y="88"/>
                </a:lnTo>
                <a:close/>
                <a:moveTo>
                  <a:pt x="52" y="64"/>
                </a:moveTo>
                <a:cubicBezTo>
                  <a:pt x="54" y="64"/>
                  <a:pt x="56" y="62"/>
                  <a:pt x="56" y="60"/>
                </a:cubicBezTo>
                <a:cubicBezTo>
                  <a:pt x="56" y="58"/>
                  <a:pt x="54" y="56"/>
                  <a:pt x="52" y="56"/>
                </a:cubicBezTo>
                <a:cubicBezTo>
                  <a:pt x="50" y="56"/>
                  <a:pt x="48" y="58"/>
                  <a:pt x="48" y="60"/>
                </a:cubicBezTo>
                <a:cubicBezTo>
                  <a:pt x="48" y="62"/>
                  <a:pt x="50" y="64"/>
                  <a:pt x="52" y="64"/>
                </a:cubicBezTo>
              </a:path>
            </a:pathLst>
          </a:custGeom>
          <a:solidFill>
            <a:schemeClr val="accent1">
              <a:lumMod val="20000"/>
              <a:lumOff val="80000"/>
              <a:alpha val="10196"/>
            </a:schemeClr>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Tree>
    <p:extLst>
      <p:ext uri="{BB962C8B-B14F-4D97-AF65-F5344CB8AC3E}">
        <p14:creationId xmlns:p14="http://schemas.microsoft.com/office/powerpoint/2010/main" xmlns="" val="372036259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isyDeck Master - 56">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xmlns="" id="{378586D3-72F0-4386-A42F-AFC8A88D693A}"/>
              </a:ext>
            </a:extLst>
          </p:cNvPr>
          <p:cNvSpPr>
            <a:spLocks/>
          </p:cNvSpPr>
          <p:nvPr userDrawn="1"/>
        </p:nvSpPr>
        <p:spPr bwMode="auto">
          <a:xfrm flipH="1">
            <a:off x="0" y="0"/>
            <a:ext cx="8712200" cy="4447548"/>
          </a:xfrm>
          <a:custGeom>
            <a:avLst/>
            <a:gdLst>
              <a:gd name="connsiteX0" fmla="*/ 24385588 w 24385588"/>
              <a:gd name="connsiteY0" fmla="*/ 0 h 9574306"/>
              <a:gd name="connsiteX1" fmla="*/ 0 w 24385588"/>
              <a:gd name="connsiteY1" fmla="*/ 0 h 9574306"/>
              <a:gd name="connsiteX2" fmla="*/ 0 w 24385588"/>
              <a:gd name="connsiteY2" fmla="*/ 9574306 h 9574306"/>
              <a:gd name="connsiteX3" fmla="*/ 17228116 w 24385588"/>
              <a:gd name="connsiteY3" fmla="*/ 9574306 h 9574306"/>
              <a:gd name="connsiteX4" fmla="*/ 17191464 w 24385588"/>
              <a:gd name="connsiteY4" fmla="*/ 9413068 h 9574306"/>
              <a:gd name="connsiteX5" fmla="*/ 19653973 w 24385588"/>
              <a:gd name="connsiteY5" fmla="*/ 5703793 h 9574306"/>
              <a:gd name="connsiteX6" fmla="*/ 20775517 w 24385588"/>
              <a:gd name="connsiteY6" fmla="*/ 5655104 h 9574306"/>
              <a:gd name="connsiteX7" fmla="*/ 23484491 w 24385588"/>
              <a:gd name="connsiteY7" fmla="*/ 9479951 h 9574306"/>
              <a:gd name="connsiteX8" fmla="*/ 23461267 w 24385588"/>
              <a:gd name="connsiteY8" fmla="*/ 9574306 h 9574306"/>
              <a:gd name="connsiteX9" fmla="*/ 24385588 w 24385588"/>
              <a:gd name="connsiteY9" fmla="*/ 9574306 h 9574306"/>
              <a:gd name="connsiteX10" fmla="*/ 24385588 w 24385588"/>
              <a:gd name="connsiteY10" fmla="*/ 0 h 957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5588" h="9574306">
                <a:moveTo>
                  <a:pt x="24385588" y="0"/>
                </a:moveTo>
                <a:lnTo>
                  <a:pt x="0" y="0"/>
                </a:lnTo>
                <a:lnTo>
                  <a:pt x="0" y="9574306"/>
                </a:lnTo>
                <a:lnTo>
                  <a:pt x="17228116" y="9574306"/>
                </a:lnTo>
                <a:lnTo>
                  <a:pt x="17191464" y="9413068"/>
                </a:lnTo>
                <a:cubicBezTo>
                  <a:pt x="16906858" y="7869584"/>
                  <a:pt x="17766354" y="6149463"/>
                  <a:pt x="19653973" y="5703793"/>
                </a:cubicBezTo>
                <a:cubicBezTo>
                  <a:pt x="20017477" y="5615268"/>
                  <a:pt x="20407580" y="5606415"/>
                  <a:pt x="20775517" y="5655104"/>
                </a:cubicBezTo>
                <a:cubicBezTo>
                  <a:pt x="22691673" y="5914041"/>
                  <a:pt x="23849876" y="7750871"/>
                  <a:pt x="23484491" y="9479951"/>
                </a:cubicBezTo>
                <a:lnTo>
                  <a:pt x="23461267" y="9574306"/>
                </a:lnTo>
                <a:lnTo>
                  <a:pt x="24385588" y="9574306"/>
                </a:lnTo>
                <a:lnTo>
                  <a:pt x="24385588" y="0"/>
                </a:lnTo>
                <a:close/>
              </a:path>
            </a:pathLst>
          </a:custGeom>
          <a:solidFill>
            <a:schemeClr val="accent1"/>
          </a:solidFill>
          <a:ln>
            <a:noFill/>
          </a:ln>
        </p:spPr>
        <p:txBody>
          <a:bodyPr vert="horz" wrap="square" lIns="64308" tIns="33440" rIns="64308" bIns="33440" numCol="1" anchor="t" anchorCtr="0" compatLnSpc="1">
            <a:prstTxWarp prst="textNoShape">
              <a:avLst/>
            </a:prstTxWarp>
            <a:noAutofit/>
          </a:bodyPr>
          <a:lstStyle/>
          <a:p>
            <a:pPr defTabSz="163358"/>
            <a:endParaRPr lang="en-GB" sz="643" dirty="0">
              <a:solidFill>
                <a:srgbClr val="2E2E2E"/>
              </a:solidFill>
            </a:endParaRPr>
          </a:p>
        </p:txBody>
      </p:sp>
      <p:sp>
        <p:nvSpPr>
          <p:cNvPr id="16" name="Footer Placeholder 1">
            <a:extLst>
              <a:ext uri="{FF2B5EF4-FFF2-40B4-BE49-F238E27FC236}">
                <a16:creationId xmlns:a16="http://schemas.microsoft.com/office/drawing/2014/main" xmlns="" id="{2CE3D520-EFD3-4FBB-80AF-815EE6C2ADD4}"/>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xmlns="" id="{587ADFD4-5B51-4A9C-BA3C-4248EF0EAB99}"/>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9" name="Group 8">
            <a:extLst>
              <a:ext uri="{FF2B5EF4-FFF2-40B4-BE49-F238E27FC236}">
                <a16:creationId xmlns:a16="http://schemas.microsoft.com/office/drawing/2014/main" xmlns="" id="{B909955E-C87E-43C8-A32D-13C37793B573}"/>
              </a:ext>
            </a:extLst>
          </p:cNvPr>
          <p:cNvGrpSpPr>
            <a:grpSpLocks noChangeAspect="1"/>
          </p:cNvGrpSpPr>
          <p:nvPr userDrawn="1"/>
        </p:nvGrpSpPr>
        <p:grpSpPr>
          <a:xfrm rot="8100000" flipH="1" flipV="1">
            <a:off x="-6413" y="81115"/>
            <a:ext cx="203928" cy="86245"/>
            <a:chOff x="11661248" y="7789719"/>
            <a:chExt cx="1293156" cy="420621"/>
          </a:xfrm>
        </p:grpSpPr>
        <p:cxnSp>
          <p:nvCxnSpPr>
            <p:cNvPr id="11" name="Straight Connector 10">
              <a:extLst>
                <a:ext uri="{FF2B5EF4-FFF2-40B4-BE49-F238E27FC236}">
                  <a16:creationId xmlns:a16="http://schemas.microsoft.com/office/drawing/2014/main" xmlns="" id="{9CBCA0C1-9D89-45FE-8D23-FA60A46A4C6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4C53554C-D45F-4950-89E5-5F980EEF413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EB4C2EE9-3AC8-45E8-B3A8-11AA9E1340F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2913719288"/>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isyDeck Master - 57">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274849"/>
            <a:ext cx="8712200" cy="5822528"/>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Tree>
    <p:extLst>
      <p:ext uri="{BB962C8B-B14F-4D97-AF65-F5344CB8AC3E}">
        <p14:creationId xmlns:p14="http://schemas.microsoft.com/office/powerpoint/2010/main" xmlns="" val="395583968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aisyDeck Master - 58">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249586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3" name="Parallelogram 12">
            <a:extLst>
              <a:ext uri="{FF2B5EF4-FFF2-40B4-BE49-F238E27FC236}">
                <a16:creationId xmlns:a16="http://schemas.microsoft.com/office/drawing/2014/main" xmlns="" id="{5067AD2B-A53A-4BCA-B3EB-0D003F8F4CBC}"/>
              </a:ext>
            </a:extLst>
          </p:cNvPr>
          <p:cNvSpPr/>
          <p:nvPr userDrawn="1"/>
        </p:nvSpPr>
        <p:spPr>
          <a:xfrm>
            <a:off x="2639527" y="0"/>
            <a:ext cx="3446220" cy="6383173"/>
          </a:xfrm>
          <a:prstGeom prst="parallelogram">
            <a:avLst>
              <a:gd name="adj" fmla="val 13848"/>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spc="14" dirty="0">
              <a:solidFill>
                <a:srgbClr val="FFFFFF"/>
              </a:solidFill>
            </a:endParaRPr>
          </a:p>
        </p:txBody>
      </p:sp>
    </p:spTree>
    <p:extLst>
      <p:ext uri="{BB962C8B-B14F-4D97-AF65-F5344CB8AC3E}">
        <p14:creationId xmlns:p14="http://schemas.microsoft.com/office/powerpoint/2010/main" xmlns="" val="177643386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21982602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isyDeck Master - 59">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336074"/>
            <a:ext cx="807111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160590552"/>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isyDeck Master - 60">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737473"/>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5277960" cy="602506"/>
          </a:xfrm>
        </p:spPr>
        <p:txBody>
          <a:bodyPr lIns="180000" tIns="93600" rIns="180000" bIns="93600"/>
          <a:lstStyle>
            <a:lvl1pPr algn="l">
              <a:defRPr/>
            </a:lvl1pPr>
          </a:lstStyle>
          <a:p>
            <a:endParaRPr lang="en-GB" dirty="0"/>
          </a:p>
        </p:txBody>
      </p:sp>
      <p:pic>
        <p:nvPicPr>
          <p:cNvPr id="15" name="Picture 14">
            <a:extLst>
              <a:ext uri="{FF2B5EF4-FFF2-40B4-BE49-F238E27FC236}">
                <a16:creationId xmlns:a16="http://schemas.microsoft.com/office/drawing/2014/main" xmlns="" id="{3CE5058F-44AB-4A10-B4BD-0665F918526D}"/>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5400000">
            <a:off x="2567807" y="3081074"/>
            <a:ext cx="6372225" cy="210078"/>
          </a:xfrm>
          <a:prstGeom prst="rect">
            <a:avLst/>
          </a:prstGeom>
        </p:spPr>
      </p:pic>
      <p:grpSp>
        <p:nvGrpSpPr>
          <p:cNvPr id="26" name="Group 25">
            <a:extLst>
              <a:ext uri="{FF2B5EF4-FFF2-40B4-BE49-F238E27FC236}">
                <a16:creationId xmlns:a16="http://schemas.microsoft.com/office/drawing/2014/main" xmlns="" id="{570DA603-396A-4BF8-85CB-961BE64D5E49}"/>
              </a:ext>
            </a:extLst>
          </p:cNvPr>
          <p:cNvGrpSpPr>
            <a:grpSpLocks noChangeAspect="1"/>
          </p:cNvGrpSpPr>
          <p:nvPr userDrawn="1"/>
        </p:nvGrpSpPr>
        <p:grpSpPr>
          <a:xfrm rot="8100000" flipH="1" flipV="1">
            <a:off x="5851305" y="81115"/>
            <a:ext cx="203928" cy="86245"/>
            <a:chOff x="11661248" y="7789719"/>
            <a:chExt cx="1293156" cy="420621"/>
          </a:xfrm>
        </p:grpSpPr>
        <p:cxnSp>
          <p:nvCxnSpPr>
            <p:cNvPr id="28" name="Straight Connector 27">
              <a:extLst>
                <a:ext uri="{FF2B5EF4-FFF2-40B4-BE49-F238E27FC236}">
                  <a16:creationId xmlns:a16="http://schemas.microsoft.com/office/drawing/2014/main" xmlns="" id="{2FA672DB-C12F-4FB7-842B-131367717E8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51EB2698-1095-47E9-A376-239FA7A4AFA0}"/>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6F00E8E0-11FE-4EC8-959E-2F19666B4C7D}"/>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350765229"/>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isyDeck Master - 61">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8726FE67-95FA-45F6-9805-CB24CE7FEB7B}"/>
              </a:ext>
            </a:extLst>
          </p:cNvPr>
          <p:cNvSpPr/>
          <p:nvPr userDrawn="1"/>
        </p:nvSpPr>
        <p:spPr>
          <a:xfrm>
            <a:off x="6130171" y="0"/>
            <a:ext cx="2582029" cy="6372225"/>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xmlns="" id="{CB8D9D95-0F12-4BD4-BDC0-CD7FC287946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3050678" y="3081074"/>
            <a:ext cx="6372225" cy="210078"/>
          </a:xfrm>
          <a:prstGeom prst="rect">
            <a:avLst/>
          </a:prstGeom>
        </p:spPr>
      </p:pic>
      <p:grpSp>
        <p:nvGrpSpPr>
          <p:cNvPr id="15" name="Group 14">
            <a:extLst>
              <a:ext uri="{FF2B5EF4-FFF2-40B4-BE49-F238E27FC236}">
                <a16:creationId xmlns:a16="http://schemas.microsoft.com/office/drawing/2014/main" xmlns="" id="{110DD3BA-27A1-4673-BED0-BCC2A4920E8D}"/>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xmlns=""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xmlns=""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xmlns="" id="{D00C8CAE-7A65-4E16-94D4-0C17F2ABC7BA}"/>
              </a:ext>
            </a:extLst>
          </p:cNvPr>
          <p:cNvSpPr>
            <a:spLocks noGrp="1"/>
          </p:cNvSpPr>
          <p:nvPr>
            <p:ph type="title"/>
          </p:nvPr>
        </p:nvSpPr>
        <p:spPr>
          <a:xfrm>
            <a:off x="288517" y="376381"/>
            <a:ext cx="5498166"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E3E1F4DC-34F2-4AB1-A9FA-F5C070C3FCD0}"/>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BDA84C59-352D-45D4-BD08-C882F1A907D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a:extLst>
              <a:ext uri="{FF2B5EF4-FFF2-40B4-BE49-F238E27FC236}">
                <a16:creationId xmlns:a16="http://schemas.microsoft.com/office/drawing/2014/main" xmlns="" id="{C26D4168-5706-48F0-81B5-33B9F5961F12}"/>
              </a:ext>
            </a:extLst>
          </p:cNvPr>
          <p:cNvSpPr>
            <a:spLocks noGrp="1"/>
          </p:cNvSpPr>
          <p:nvPr>
            <p:ph type="chart" sz="quarter" idx="12"/>
          </p:nvPr>
        </p:nvSpPr>
        <p:spPr>
          <a:xfrm>
            <a:off x="320544" y="1624104"/>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18C2D53D-15D5-4AF2-AB7A-D0785142FDCE}"/>
              </a:ext>
            </a:extLst>
          </p:cNvPr>
          <p:cNvGrpSpPr>
            <a:grpSpLocks noChangeAspect="1"/>
          </p:cNvGrpSpPr>
          <p:nvPr userDrawn="1"/>
        </p:nvGrpSpPr>
        <p:grpSpPr>
          <a:xfrm rot="8100000" flipH="1" flipV="1">
            <a:off x="6123758" y="81115"/>
            <a:ext cx="203928" cy="86245"/>
            <a:chOff x="11661248" y="7789719"/>
            <a:chExt cx="1293156" cy="420621"/>
          </a:xfrm>
        </p:grpSpPr>
        <p:cxnSp>
          <p:nvCxnSpPr>
            <p:cNvPr id="19" name="Straight Connector 18">
              <a:extLst>
                <a:ext uri="{FF2B5EF4-FFF2-40B4-BE49-F238E27FC236}">
                  <a16:creationId xmlns:a16="http://schemas.microsoft.com/office/drawing/2014/main" xmlns="" id="{68EEE487-1BBC-4B88-B771-B0D50F13140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AEEBB247-1608-4108-B8DA-D899695DA482}"/>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CA85AD92-404A-4258-92E4-5A61632DC2A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1418568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isyDeck Master - 6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2812064" y="1336074"/>
            <a:ext cx="557959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86650269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aisyDeck Master - 63">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xmlns="" id="{110DD3BA-27A1-4673-BED0-BCC2A4920E8D}"/>
              </a:ext>
            </a:extLst>
          </p:cNvPr>
          <p:cNvGrpSpPr/>
          <p:nvPr userDrawn="1"/>
        </p:nvGrpSpPr>
        <p:grpSpPr>
          <a:xfrm>
            <a:off x="2759113" y="216759"/>
            <a:ext cx="437727" cy="569144"/>
            <a:chOff x="494744" y="523692"/>
            <a:chExt cx="1225205" cy="1225205"/>
          </a:xfrm>
        </p:grpSpPr>
        <p:grpSp>
          <p:nvGrpSpPr>
            <p:cNvPr id="17" name="Group 16">
              <a:extLst>
                <a:ext uri="{FF2B5EF4-FFF2-40B4-BE49-F238E27FC236}">
                  <a16:creationId xmlns:a16="http://schemas.microsoft.com/office/drawing/2014/main" xmlns=""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xmlns=""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xmlns=""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xmlns="" id="{D00C8CAE-7A65-4E16-94D4-0C17F2ABC7BA}"/>
              </a:ext>
            </a:extLst>
          </p:cNvPr>
          <p:cNvSpPr>
            <a:spLocks noGrp="1"/>
          </p:cNvSpPr>
          <p:nvPr>
            <p:ph type="title"/>
          </p:nvPr>
        </p:nvSpPr>
        <p:spPr>
          <a:xfrm>
            <a:off x="2892386" y="376381"/>
            <a:ext cx="5498166" cy="602506"/>
          </a:xfrm>
        </p:spPr>
        <p:txBody>
          <a:bodyPr lIns="180000" tIns="93600" rIns="180000" bIns="93600"/>
          <a:lstStyle>
            <a:lvl1pPr algn="l">
              <a:defRPr/>
            </a:lvl1pPr>
          </a:lstStyle>
          <a:p>
            <a:endParaRPr lang="en-GB" dirty="0"/>
          </a:p>
        </p:txBody>
      </p:sp>
      <p:sp>
        <p:nvSpPr>
          <p:cNvPr id="18" name="Chart Placeholder 12">
            <a:extLst>
              <a:ext uri="{FF2B5EF4-FFF2-40B4-BE49-F238E27FC236}">
                <a16:creationId xmlns:a16="http://schemas.microsoft.com/office/drawing/2014/main" xmlns="" id="{C26D4168-5706-48F0-81B5-33B9F5961F12}"/>
              </a:ext>
            </a:extLst>
          </p:cNvPr>
          <p:cNvSpPr>
            <a:spLocks noGrp="1"/>
          </p:cNvSpPr>
          <p:nvPr>
            <p:ph type="chart" sz="quarter" idx="12"/>
          </p:nvPr>
        </p:nvSpPr>
        <p:spPr>
          <a:xfrm>
            <a:off x="2892386" y="1579816"/>
            <a:ext cx="5499271" cy="381609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3" name="Group 2">
            <a:extLst>
              <a:ext uri="{FF2B5EF4-FFF2-40B4-BE49-F238E27FC236}">
                <a16:creationId xmlns:a16="http://schemas.microsoft.com/office/drawing/2014/main" xmlns="" id="{47F91540-21F6-496B-8CBF-A48577F9FF40}"/>
              </a:ext>
            </a:extLst>
          </p:cNvPr>
          <p:cNvGrpSpPr/>
          <p:nvPr userDrawn="1"/>
        </p:nvGrpSpPr>
        <p:grpSpPr>
          <a:xfrm>
            <a:off x="-6413" y="0"/>
            <a:ext cx="2588442" cy="6372225"/>
            <a:chOff x="-17950" y="0"/>
            <a:chExt cx="7245092" cy="13717588"/>
          </a:xfrm>
        </p:grpSpPr>
        <p:grpSp>
          <p:nvGrpSpPr>
            <p:cNvPr id="2" name="Group 1">
              <a:extLst>
                <a:ext uri="{FF2B5EF4-FFF2-40B4-BE49-F238E27FC236}">
                  <a16:creationId xmlns:a16="http://schemas.microsoft.com/office/drawing/2014/main" xmlns="" id="{35FA8685-D0F9-494C-ABC9-A64CF0F3D53A}"/>
                </a:ext>
              </a:extLst>
            </p:cNvPr>
            <p:cNvGrpSpPr/>
            <p:nvPr userDrawn="1"/>
          </p:nvGrpSpPr>
          <p:grpSpPr>
            <a:xfrm rot="10800000">
              <a:off x="0" y="0"/>
              <a:ext cx="7227142" cy="13717588"/>
              <a:chOff x="17158446" y="0"/>
              <a:chExt cx="7227142" cy="13717588"/>
            </a:xfrm>
          </p:grpSpPr>
          <p:sp>
            <p:nvSpPr>
              <p:cNvPr id="13" name="Rectangle 12">
                <a:extLst>
                  <a:ext uri="{FF2B5EF4-FFF2-40B4-BE49-F238E27FC236}">
                    <a16:creationId xmlns:a16="http://schemas.microsoft.com/office/drawing/2014/main" xmlns="" id="{8726FE67-95FA-45F6-9805-CB24CE7FEB7B}"/>
                  </a:ext>
                </a:extLst>
              </p:cNvPr>
              <p:cNvSpPr/>
              <p:nvPr userDrawn="1"/>
            </p:nvSpPr>
            <p:spPr>
              <a:xfrm>
                <a:off x="17158446" y="0"/>
                <a:ext cx="7227142" cy="13717588"/>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xmlns="" id="{CB8D9D95-0F12-4BD4-BDC0-CD7FC287946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0598082" y="6564788"/>
                <a:ext cx="13717588" cy="588012"/>
              </a:xfrm>
              <a:prstGeom prst="rect">
                <a:avLst/>
              </a:prstGeom>
            </p:spPr>
          </p:pic>
        </p:grpSp>
        <p:grpSp>
          <p:nvGrpSpPr>
            <p:cNvPr id="19" name="Group 18">
              <a:extLst>
                <a:ext uri="{FF2B5EF4-FFF2-40B4-BE49-F238E27FC236}">
                  <a16:creationId xmlns:a16="http://schemas.microsoft.com/office/drawing/2014/main" xmlns="" id="{27B53C25-EBAC-4557-8CD6-2721B2489D44}"/>
                </a:ext>
              </a:extLst>
            </p:cNvPr>
            <p:cNvGrpSpPr>
              <a:grpSpLocks noChangeAspect="1"/>
            </p:cNvGrpSpPr>
            <p:nvPr userDrawn="1"/>
          </p:nvGrpSpPr>
          <p:grpSpPr>
            <a:xfrm rot="8100000" flipH="1" flipV="1">
              <a:off x="-17950" y="174618"/>
              <a:ext cx="570797" cy="185662"/>
              <a:chOff x="11661248" y="7789719"/>
              <a:chExt cx="1293156" cy="420621"/>
            </a:xfrm>
          </p:grpSpPr>
          <p:cxnSp>
            <p:nvCxnSpPr>
              <p:cNvPr id="20" name="Straight Connector 19">
                <a:extLst>
                  <a:ext uri="{FF2B5EF4-FFF2-40B4-BE49-F238E27FC236}">
                    <a16:creationId xmlns:a16="http://schemas.microsoft.com/office/drawing/2014/main" xmlns="" id="{FE16504F-4581-451C-981F-F5E41ABB367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71E1643-5B0D-490E-827E-4645458BF2E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75E997D1-5485-4124-ABCC-2EDDC8CB1BC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6" name="Footer Placeholder 5">
            <a:extLst>
              <a:ext uri="{FF2B5EF4-FFF2-40B4-BE49-F238E27FC236}">
                <a16:creationId xmlns:a16="http://schemas.microsoft.com/office/drawing/2014/main" xmlns="" id="{8708068B-B076-4FBC-BE9E-E746BF240DC0}"/>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7" name="Slide Number Placeholder 6">
            <a:extLst>
              <a:ext uri="{FF2B5EF4-FFF2-40B4-BE49-F238E27FC236}">
                <a16:creationId xmlns:a16="http://schemas.microsoft.com/office/drawing/2014/main" xmlns="" id="{53E1C401-C8B2-452D-A18F-1D984B48FE79}"/>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20100196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isyDeck Master - 64">
    <p:bg>
      <p:bgPr>
        <a:solidFill>
          <a:schemeClr val="bg1"/>
        </a:solidFill>
        <a:effectLst/>
      </p:bgPr>
    </p:bg>
    <p:spTree>
      <p:nvGrpSpPr>
        <p:cNvPr id="1" name=""/>
        <p:cNvGrpSpPr/>
        <p:nvPr/>
      </p:nvGrpSpPr>
      <p:grpSpPr>
        <a:xfrm>
          <a:off x="0" y="0"/>
          <a:ext cx="0" cy="0"/>
          <a:chOff x="0" y="0"/>
          <a:chExt cx="0" cy="0"/>
        </a:xfrm>
      </p:grpSpPr>
      <p:sp>
        <p:nvSpPr>
          <p:cNvPr id="12" name="Chart Placeholder 12"/>
          <p:cNvSpPr>
            <a:spLocks noGrp="1"/>
          </p:cNvSpPr>
          <p:nvPr>
            <p:ph type="chart" sz="quarter" idx="12"/>
          </p:nvPr>
        </p:nvSpPr>
        <p:spPr>
          <a:xfrm>
            <a:off x="288518" y="1092611"/>
            <a:ext cx="8103140" cy="2551880"/>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4" name="Group 13">
            <a:extLst>
              <a:ext uri="{FF2B5EF4-FFF2-40B4-BE49-F238E27FC236}">
                <a16:creationId xmlns:a16="http://schemas.microsoft.com/office/drawing/2014/main" xmlns="" id="{B082A463-49BF-4BCE-8567-A868A6F27ADD}"/>
              </a:ext>
            </a:extLst>
          </p:cNvPr>
          <p:cNvGrpSpPr/>
          <p:nvPr userDrawn="1"/>
        </p:nvGrpSpPr>
        <p:grpSpPr>
          <a:xfrm>
            <a:off x="155245" y="216759"/>
            <a:ext cx="437727" cy="569144"/>
            <a:chOff x="494744" y="523692"/>
            <a:chExt cx="1225205" cy="1225205"/>
          </a:xfrm>
        </p:grpSpPr>
        <p:grpSp>
          <p:nvGrpSpPr>
            <p:cNvPr id="15" name="Group 14">
              <a:extLst>
                <a:ext uri="{FF2B5EF4-FFF2-40B4-BE49-F238E27FC236}">
                  <a16:creationId xmlns:a16="http://schemas.microsoft.com/office/drawing/2014/main" xmlns="" id="{9404E199-E36F-45AD-9888-F558C7CD5CD8}"/>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xmlns="" id="{C2455D9F-6967-4DF5-9D77-CE6A6106297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560BE65-5A38-4366-974B-C193F9A473A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D8EB758A-417E-4CB4-AFD5-70FC14FCB6CD}"/>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xmlns="" id="{FB80A8A3-231B-4A8E-934F-E5DB73248099}"/>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xmlns="" id="{F16DEF88-DD62-4CBF-A12A-39B7967BD8C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7798BEE8-62FE-4AE9-8280-E8A9639CAE0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A0A6E72F-67D6-4EB7-A379-CB7630C700E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20851AC7-41BB-4F92-B0DA-96B28764483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C20692A6-DE8D-4085-A31F-AA07EFA8DCF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7532826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aisyDeck Master - 65">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515419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sp>
        <p:nvSpPr>
          <p:cNvPr id="26" name="Freeform: Shape 25">
            <a:extLst>
              <a:ext uri="{FF2B5EF4-FFF2-40B4-BE49-F238E27FC236}">
                <a16:creationId xmlns:a16="http://schemas.microsoft.com/office/drawing/2014/main" xmlns="" id="{80FCA9F3-8006-4FDC-9FE9-5C48E0CA5FC9}"/>
              </a:ext>
            </a:extLst>
          </p:cNvPr>
          <p:cNvSpPr/>
          <p:nvPr userDrawn="1"/>
        </p:nvSpPr>
        <p:spPr>
          <a:xfrm>
            <a:off x="1423859" y="0"/>
            <a:ext cx="7288341" cy="6372225"/>
          </a:xfrm>
          <a:custGeom>
            <a:avLst/>
            <a:gdLst>
              <a:gd name="connsiteX0" fmla="*/ 13715999 w 20400183"/>
              <a:gd name="connsiteY0" fmla="*/ 0 h 13717588"/>
              <a:gd name="connsiteX1" fmla="*/ 13717587 w 20400183"/>
              <a:gd name="connsiteY1" fmla="*/ 0 h 13717588"/>
              <a:gd name="connsiteX2" fmla="*/ 20400183 w 20400183"/>
              <a:gd name="connsiteY2" fmla="*/ 0 h 13717588"/>
              <a:gd name="connsiteX3" fmla="*/ 20400183 w 20400183"/>
              <a:gd name="connsiteY3" fmla="*/ 13717588 h 13717588"/>
              <a:gd name="connsiteX4" fmla="*/ 13717587 w 20400183"/>
              <a:gd name="connsiteY4" fmla="*/ 13717588 h 13717588"/>
              <a:gd name="connsiteX5" fmla="*/ 13715999 w 20400183"/>
              <a:gd name="connsiteY5" fmla="*/ 13717588 h 13717588"/>
              <a:gd name="connsiteX6" fmla="*/ 0 w 20400183"/>
              <a:gd name="connsiteY6" fmla="*/ 13717588 h 13717588"/>
              <a:gd name="connsiteX7" fmla="*/ 4599726 w 20400183"/>
              <a:gd name="connsiteY7" fmla="*/ 9117862 h 13717588"/>
              <a:gd name="connsiteX8" fmla="*/ 4817727 w 20400183"/>
              <a:gd name="connsiteY8" fmla="*/ 9315994 h 13717588"/>
              <a:gd name="connsiteX9" fmla="*/ 6778441 w 20400183"/>
              <a:gd name="connsiteY9" fmla="*/ 10019872 h 13717588"/>
              <a:gd name="connsiteX10" fmla="*/ 9860875 w 20400183"/>
              <a:gd name="connsiteY10" fmla="*/ 6937438 h 13717588"/>
              <a:gd name="connsiteX11" fmla="*/ 9156997 w 20400183"/>
              <a:gd name="connsiteY11" fmla="*/ 4976724 h 13717588"/>
              <a:gd name="connsiteX12" fmla="*/ 8958864 w 20400183"/>
              <a:gd name="connsiteY12" fmla="*/ 4758723 h 13717588"/>
              <a:gd name="connsiteX13" fmla="*/ 13715999 w 20400183"/>
              <a:gd name="connsiteY13" fmla="*/ 1588 h 13717588"/>
              <a:gd name="connsiteX14" fmla="*/ 13715999 w 20400183"/>
              <a:gd name="connsiteY14" fmla="*/ 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00183" h="13717588">
                <a:moveTo>
                  <a:pt x="13715999" y="0"/>
                </a:moveTo>
                <a:lnTo>
                  <a:pt x="13717587" y="0"/>
                </a:lnTo>
                <a:lnTo>
                  <a:pt x="20400183" y="0"/>
                </a:lnTo>
                <a:lnTo>
                  <a:pt x="20400183" y="13717588"/>
                </a:lnTo>
                <a:lnTo>
                  <a:pt x="13717587" y="13717588"/>
                </a:lnTo>
                <a:lnTo>
                  <a:pt x="13715999" y="13717588"/>
                </a:lnTo>
                <a:lnTo>
                  <a:pt x="0" y="13717588"/>
                </a:lnTo>
                <a:lnTo>
                  <a:pt x="4599726" y="9117862"/>
                </a:lnTo>
                <a:lnTo>
                  <a:pt x="4817727" y="9315994"/>
                </a:lnTo>
                <a:cubicBezTo>
                  <a:pt x="5350553" y="9755721"/>
                  <a:pt x="6033649" y="10019872"/>
                  <a:pt x="6778441" y="10019872"/>
                </a:cubicBezTo>
                <a:cubicBezTo>
                  <a:pt x="8480822" y="10019872"/>
                  <a:pt x="9860875" y="8639819"/>
                  <a:pt x="9860875" y="6937438"/>
                </a:cubicBezTo>
                <a:cubicBezTo>
                  <a:pt x="9860875" y="6192647"/>
                  <a:pt x="9596724" y="5509550"/>
                  <a:pt x="9156997" y="4976724"/>
                </a:cubicBezTo>
                <a:lnTo>
                  <a:pt x="8958864" y="4758723"/>
                </a:lnTo>
                <a:lnTo>
                  <a:pt x="13715999" y="1588"/>
                </a:lnTo>
                <a:lnTo>
                  <a:pt x="13715999"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xmlns="" val="197608210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isyDeck Master - 66">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0"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0"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5297"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 name="Slide Number Placeholder 4"/>
          <p:cNvSpPr>
            <a:spLocks noGrp="1"/>
          </p:cNvSpPr>
          <p:nvPr>
            <p:ph type="sldNum" sz="quarter" idx="15"/>
          </p:nvPr>
        </p:nvSpPr>
        <p:spPr>
          <a:xfrm>
            <a:off x="7864991" y="5960817"/>
            <a:ext cx="526666" cy="234123"/>
          </a:xfrm>
          <a:prstGeom prst="rect">
            <a:avLst/>
          </a:prstGeo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9" name="Group 48">
            <a:extLst>
              <a:ext uri="{FF2B5EF4-FFF2-40B4-BE49-F238E27FC236}">
                <a16:creationId xmlns:a16="http://schemas.microsoft.com/office/drawing/2014/main" xmlns="" id="{45601E9E-0B6D-4B05-AC21-A1E35785625E}"/>
              </a:ext>
            </a:extLst>
          </p:cNvPr>
          <p:cNvGrpSpPr/>
          <p:nvPr userDrawn="1"/>
        </p:nvGrpSpPr>
        <p:grpSpPr>
          <a:xfrm>
            <a:off x="4180871" y="216759"/>
            <a:ext cx="437727" cy="569144"/>
            <a:chOff x="494744" y="523692"/>
            <a:chExt cx="1225205" cy="1225205"/>
          </a:xfrm>
        </p:grpSpPr>
        <p:grpSp>
          <p:nvGrpSpPr>
            <p:cNvPr id="50" name="Group 49">
              <a:extLst>
                <a:ext uri="{FF2B5EF4-FFF2-40B4-BE49-F238E27FC236}">
                  <a16:creationId xmlns:a16="http://schemas.microsoft.com/office/drawing/2014/main" xmlns="" id="{0BF919C9-F741-4363-BFB2-985DDA995967}"/>
                </a:ext>
              </a:extLst>
            </p:cNvPr>
            <p:cNvGrpSpPr>
              <a:grpSpLocks noChangeAspect="1"/>
            </p:cNvGrpSpPr>
            <p:nvPr userDrawn="1"/>
          </p:nvGrpSpPr>
          <p:grpSpPr>
            <a:xfrm rot="18900000">
              <a:off x="707305" y="869222"/>
              <a:ext cx="471488" cy="153360"/>
              <a:chOff x="11661248" y="7789719"/>
              <a:chExt cx="1293156" cy="420621"/>
            </a:xfrm>
          </p:grpSpPr>
          <p:cxnSp>
            <p:nvCxnSpPr>
              <p:cNvPr id="54" name="Straight Connector 53">
                <a:extLst>
                  <a:ext uri="{FF2B5EF4-FFF2-40B4-BE49-F238E27FC236}">
                    <a16:creationId xmlns:a16="http://schemas.microsoft.com/office/drawing/2014/main" xmlns="" id="{E5055D7F-635A-4F69-BC06-127507DF37E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xmlns="" id="{71075258-0694-4263-A721-FE22BE581C4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15C23C45-0B68-4A8F-8E9C-8A663B589CE4}"/>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1" name="Group 50">
              <a:extLst>
                <a:ext uri="{FF2B5EF4-FFF2-40B4-BE49-F238E27FC236}">
                  <a16:creationId xmlns:a16="http://schemas.microsoft.com/office/drawing/2014/main" xmlns="" id="{9CF77477-3FC0-438A-9765-A7CEFB63FFF7}"/>
                </a:ext>
              </a:extLst>
            </p:cNvPr>
            <p:cNvGrpSpPr/>
            <p:nvPr userDrawn="1"/>
          </p:nvGrpSpPr>
          <p:grpSpPr>
            <a:xfrm>
              <a:off x="494744" y="523692"/>
              <a:ext cx="1225205" cy="1225205"/>
              <a:chOff x="12636425" y="442230"/>
              <a:chExt cx="1860336" cy="1860336"/>
            </a:xfrm>
          </p:grpSpPr>
          <p:cxnSp>
            <p:nvCxnSpPr>
              <p:cNvPr id="52" name="Straight Connector 51">
                <a:extLst>
                  <a:ext uri="{FF2B5EF4-FFF2-40B4-BE49-F238E27FC236}">
                    <a16:creationId xmlns:a16="http://schemas.microsoft.com/office/drawing/2014/main" xmlns="" id="{D3AF7C49-D6D8-4B89-BA60-C02D79EE617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xmlns="" id="{43019D06-9565-4FB8-9C6D-AEB2248F20CA}"/>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7" name="Title 1">
            <a:extLst>
              <a:ext uri="{FF2B5EF4-FFF2-40B4-BE49-F238E27FC236}">
                <a16:creationId xmlns:a16="http://schemas.microsoft.com/office/drawing/2014/main" xmlns="" id="{D0B3E6B6-4AC6-4316-9432-D55F0D5183FB}"/>
              </a:ext>
            </a:extLst>
          </p:cNvPr>
          <p:cNvSpPr>
            <a:spLocks noGrp="1"/>
          </p:cNvSpPr>
          <p:nvPr>
            <p:ph type="title"/>
          </p:nvPr>
        </p:nvSpPr>
        <p:spPr>
          <a:xfrm>
            <a:off x="4314144"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3483213"/>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isyDeck Master - 67">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xmlns="" id="{86BBCAF3-6C1D-49C3-8BBE-5691DFC7E151}"/>
              </a:ext>
            </a:extLst>
          </p:cNvPr>
          <p:cNvSpPr>
            <a:spLocks noGrp="1"/>
          </p:cNvSpPr>
          <p:nvPr>
            <p:ph type="pic" sz="quarter" idx="14"/>
          </p:nvPr>
        </p:nvSpPr>
        <p:spPr>
          <a:xfrm>
            <a:off x="0" y="0"/>
            <a:ext cx="8712200" cy="6372225"/>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69595574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isyDeck Master - 6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userDrawn="1">
            <p:ph type="title"/>
          </p:nvPr>
        </p:nvSpPr>
        <p:spPr/>
        <p:txBody>
          <a:bodyPr lIns="180000" tIns="93600" rIns="180000" bIns="93600"/>
          <a:lstStyle>
            <a:lvl1pPr algn="l">
              <a:defRPr/>
            </a:lvl1pPr>
          </a:lstStyle>
          <a:p>
            <a:endParaRPr lang="en-GB" dirty="0"/>
          </a:p>
        </p:txBody>
      </p:sp>
      <p:sp>
        <p:nvSpPr>
          <p:cNvPr id="16" name="Picture Placeholder 15">
            <a:extLst>
              <a:ext uri="{FF2B5EF4-FFF2-40B4-BE49-F238E27FC236}">
                <a16:creationId xmlns:a16="http://schemas.microsoft.com/office/drawing/2014/main" xmlns="" id="{CB2B9B2F-12C5-4D26-8507-594AD3B7C705}"/>
              </a:ext>
            </a:extLst>
          </p:cNvPr>
          <p:cNvSpPr>
            <a:spLocks noGrp="1"/>
          </p:cNvSpPr>
          <p:nvPr userDrawn="1">
            <p:ph type="pic" sz="quarter" idx="12"/>
          </p:nvPr>
        </p:nvSpPr>
        <p:spPr>
          <a:xfrm>
            <a:off x="0" y="1233738"/>
            <a:ext cx="8712200" cy="2491075"/>
          </a:xfrm>
          <a:custGeom>
            <a:avLst/>
            <a:gdLst>
              <a:gd name="connsiteX0" fmla="*/ 0 w 24385588"/>
              <a:gd name="connsiteY0" fmla="*/ 0 h 5362575"/>
              <a:gd name="connsiteX1" fmla="*/ 24385588 w 24385588"/>
              <a:gd name="connsiteY1" fmla="*/ 0 h 5362575"/>
              <a:gd name="connsiteX2" fmla="*/ 24385588 w 24385588"/>
              <a:gd name="connsiteY2" fmla="*/ 5362575 h 5362575"/>
              <a:gd name="connsiteX3" fmla="*/ 0 w 24385588"/>
              <a:gd name="connsiteY3" fmla="*/ 5362575 h 5362575"/>
            </a:gdLst>
            <a:ahLst/>
            <a:cxnLst>
              <a:cxn ang="0">
                <a:pos x="connsiteX0" y="connsiteY0"/>
              </a:cxn>
              <a:cxn ang="0">
                <a:pos x="connsiteX1" y="connsiteY1"/>
              </a:cxn>
              <a:cxn ang="0">
                <a:pos x="connsiteX2" y="connsiteY2"/>
              </a:cxn>
              <a:cxn ang="0">
                <a:pos x="connsiteX3" y="connsiteY3"/>
              </a:cxn>
            </a:cxnLst>
            <a:rect l="l" t="t" r="r" b="b"/>
            <a:pathLst>
              <a:path w="24385588" h="5362575">
                <a:moveTo>
                  <a:pt x="0" y="0"/>
                </a:moveTo>
                <a:lnTo>
                  <a:pt x="24385588" y="0"/>
                </a:lnTo>
                <a:lnTo>
                  <a:pt x="24385588" y="5362575"/>
                </a:lnTo>
                <a:lnTo>
                  <a:pt x="0" y="536257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8" name="Footer Placeholder 7">
            <a:extLst>
              <a:ext uri="{FF2B5EF4-FFF2-40B4-BE49-F238E27FC236}">
                <a16:creationId xmlns:a16="http://schemas.microsoft.com/office/drawing/2014/main" xmlns="" id="{9BCE3C3C-2AD3-4475-9821-E88BF66CE1BC}"/>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9" name="Slide Number Placeholder 8">
            <a:extLst>
              <a:ext uri="{FF2B5EF4-FFF2-40B4-BE49-F238E27FC236}">
                <a16:creationId xmlns:a16="http://schemas.microsoft.com/office/drawing/2014/main" xmlns="" id="{4A81A213-74F2-4A40-8CFE-03CF473B6F86}"/>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xmlns="" id="{B77E8374-FAC8-46BD-A8C9-81EA9A7DE81B}"/>
              </a:ext>
            </a:extLst>
          </p:cNvPr>
          <p:cNvGrpSpPr/>
          <p:nvPr userDrawn="1"/>
        </p:nvGrpSpPr>
        <p:grpSpPr>
          <a:xfrm>
            <a:off x="155245" y="216759"/>
            <a:ext cx="437727" cy="569144"/>
            <a:chOff x="434532" y="466621"/>
            <a:chExt cx="1225205" cy="1225205"/>
          </a:xfrm>
        </p:grpSpPr>
        <p:grpSp>
          <p:nvGrpSpPr>
            <p:cNvPr id="18" name="Group 17">
              <a:extLst>
                <a:ext uri="{FF2B5EF4-FFF2-40B4-BE49-F238E27FC236}">
                  <a16:creationId xmlns:a16="http://schemas.microsoft.com/office/drawing/2014/main" xmlns="" id="{80E19577-31CE-4CC2-8531-0A54CA8739AA}"/>
                </a:ext>
              </a:extLst>
            </p:cNvPr>
            <p:cNvGrpSpPr>
              <a:grpSpLocks noChangeAspect="1"/>
            </p:cNvGrpSpPr>
            <p:nvPr userDrawn="1"/>
          </p:nvGrpSpPr>
          <p:grpSpPr>
            <a:xfrm rot="18900000">
              <a:off x="647093" y="812151"/>
              <a:ext cx="471488" cy="153360"/>
              <a:chOff x="11661248" y="7789719"/>
              <a:chExt cx="1293156" cy="420621"/>
            </a:xfrm>
          </p:grpSpPr>
          <p:cxnSp>
            <p:nvCxnSpPr>
              <p:cNvPr id="22" name="Straight Connector 21">
                <a:extLst>
                  <a:ext uri="{FF2B5EF4-FFF2-40B4-BE49-F238E27FC236}">
                    <a16:creationId xmlns:a16="http://schemas.microsoft.com/office/drawing/2014/main" xmlns="" id="{1B2AB05A-C2DD-4EC9-A3DC-6576CA4295C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2F3B4CCA-9F39-4B11-B474-C72B277E271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5F251081-43CA-4C38-9F92-09288F6D261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D25B8B25-86BC-435D-935F-2A5DB3B26A1B}"/>
                </a:ext>
              </a:extLst>
            </p:cNvPr>
            <p:cNvGrpSpPr/>
            <p:nvPr userDrawn="1"/>
          </p:nvGrpSpPr>
          <p:grpSpPr>
            <a:xfrm>
              <a:off x="434532" y="466621"/>
              <a:ext cx="1225205" cy="1225205"/>
              <a:chOff x="12636425" y="442230"/>
              <a:chExt cx="1860336" cy="1860336"/>
            </a:xfrm>
          </p:grpSpPr>
          <p:cxnSp>
            <p:nvCxnSpPr>
              <p:cNvPr id="20" name="Straight Connector 19">
                <a:extLst>
                  <a:ext uri="{FF2B5EF4-FFF2-40B4-BE49-F238E27FC236}">
                    <a16:creationId xmlns:a16="http://schemas.microsoft.com/office/drawing/2014/main" xmlns="" id="{9E46E242-527F-4D76-8C12-9AD718D444DA}"/>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5F44D6FD-C26A-46CF-8A23-C2E2697EC12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2603173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Content Placeholder 2"/>
          <p:cNvSpPr>
            <a:spLocks noGrp="1"/>
          </p:cNvSpPr>
          <p:nvPr>
            <p:ph idx="1"/>
          </p:nvPr>
        </p:nvSpPr>
        <p:spPr>
          <a:xfrm>
            <a:off x="3703638" y="917936"/>
            <a:ext cx="4410905" cy="4527710"/>
          </a:xfrm>
        </p:spPr>
        <p:txBody>
          <a:bodyPr/>
          <a:lstStyle>
            <a:lvl1pPr>
              <a:defRPr sz="2235"/>
            </a:lvl1pPr>
            <a:lvl2pPr>
              <a:defRPr sz="1956"/>
            </a:lvl2pPr>
            <a:lvl3pPr>
              <a:defRPr sz="1677"/>
            </a:lvl3pPr>
            <a:lvl4pPr>
              <a:defRPr sz="1397"/>
            </a:lvl4pPr>
            <a:lvl5pPr>
              <a:defRPr sz="1397"/>
            </a:lvl5pPr>
            <a:lvl6pPr>
              <a:defRPr sz="1397"/>
            </a:lvl6pPr>
            <a:lvl7pPr>
              <a:defRPr sz="1397"/>
            </a:lvl7pPr>
            <a:lvl8pPr>
              <a:defRPr sz="1397"/>
            </a:lvl8pPr>
            <a:lvl9pPr>
              <a:defRPr sz="13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9930731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isyDeck Master - 69">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xmlns=""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xmlns=""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xmlns=""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xmlns=""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xmlns=""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xmlns=""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xmlns="" id="{803958D6-BC7C-427F-9C76-B1E7CD844E93}"/>
              </a:ext>
            </a:extLst>
          </p:cNvPr>
          <p:cNvSpPr>
            <a:spLocks noGrp="1"/>
          </p:cNvSpPr>
          <p:nvPr>
            <p:ph type="pic" sz="quarter" idx="21"/>
          </p:nvPr>
        </p:nvSpPr>
        <p:spPr>
          <a:xfrm>
            <a:off x="654484"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xmlns="" id="{1BD1B60A-E5B3-4CD9-9548-9925E9193727}"/>
              </a:ext>
            </a:extLst>
          </p:cNvPr>
          <p:cNvGrpSpPr/>
          <p:nvPr userDrawn="1"/>
        </p:nvGrpSpPr>
        <p:grpSpPr>
          <a:xfrm>
            <a:off x="641903" y="2250452"/>
            <a:ext cx="1075582" cy="1340541"/>
            <a:chOff x="2861774" y="4008885"/>
            <a:chExt cx="3010572" cy="2885804"/>
          </a:xfrm>
        </p:grpSpPr>
        <p:grpSp>
          <p:nvGrpSpPr>
            <p:cNvPr id="47" name="Group 46">
              <a:extLst>
                <a:ext uri="{FF2B5EF4-FFF2-40B4-BE49-F238E27FC236}">
                  <a16:creationId xmlns:a16="http://schemas.microsoft.com/office/drawing/2014/main" xmlns=""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xmlns=""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xmlns=""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xmlns=""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xmlns=""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xmlns=""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xmlns="" id="{30A4E45B-5A62-486A-A1D8-3DFC68271A02}"/>
              </a:ext>
            </a:extLst>
          </p:cNvPr>
          <p:cNvSpPr>
            <a:spLocks noGrp="1"/>
          </p:cNvSpPr>
          <p:nvPr>
            <p:ph type="pic" sz="quarter" idx="32"/>
          </p:nvPr>
        </p:nvSpPr>
        <p:spPr>
          <a:xfrm>
            <a:off x="4916218"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xmlns="" id="{F26808ED-3D16-406B-B6F9-578356823811}"/>
              </a:ext>
            </a:extLst>
          </p:cNvPr>
          <p:cNvGrpSpPr/>
          <p:nvPr userDrawn="1"/>
        </p:nvGrpSpPr>
        <p:grpSpPr>
          <a:xfrm>
            <a:off x="4903637" y="2250452"/>
            <a:ext cx="1075582" cy="1340541"/>
            <a:chOff x="2861774" y="4008885"/>
            <a:chExt cx="3010572" cy="2885804"/>
          </a:xfrm>
        </p:grpSpPr>
        <p:grpSp>
          <p:nvGrpSpPr>
            <p:cNvPr id="72" name="Group 71">
              <a:extLst>
                <a:ext uri="{FF2B5EF4-FFF2-40B4-BE49-F238E27FC236}">
                  <a16:creationId xmlns:a16="http://schemas.microsoft.com/office/drawing/2014/main" xmlns=""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xmlns=""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xmlns=""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xmlns=""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xmlns=""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xmlns=""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76537321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isyDeck Master - 70">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xmlns=""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xmlns=""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xmlns=""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xmlns=""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xmlns=""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xmlns=""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xmlns="" id="{803958D6-BC7C-427F-9C76-B1E7CD844E93}"/>
              </a:ext>
            </a:extLst>
          </p:cNvPr>
          <p:cNvSpPr>
            <a:spLocks noGrp="1"/>
          </p:cNvSpPr>
          <p:nvPr>
            <p:ph type="pic" sz="quarter" idx="21"/>
          </p:nvPr>
        </p:nvSpPr>
        <p:spPr>
          <a:xfrm>
            <a:off x="301098"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xmlns="" id="{1BD1B60A-E5B3-4CD9-9548-9925E9193727}"/>
              </a:ext>
            </a:extLst>
          </p:cNvPr>
          <p:cNvGrpSpPr/>
          <p:nvPr userDrawn="1"/>
        </p:nvGrpSpPr>
        <p:grpSpPr>
          <a:xfrm>
            <a:off x="288518" y="1288718"/>
            <a:ext cx="1075582" cy="1340541"/>
            <a:chOff x="2861774" y="4008885"/>
            <a:chExt cx="3010572" cy="2885804"/>
          </a:xfrm>
        </p:grpSpPr>
        <p:grpSp>
          <p:nvGrpSpPr>
            <p:cNvPr id="47" name="Group 46">
              <a:extLst>
                <a:ext uri="{FF2B5EF4-FFF2-40B4-BE49-F238E27FC236}">
                  <a16:creationId xmlns:a16="http://schemas.microsoft.com/office/drawing/2014/main" xmlns=""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xmlns=""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xmlns=""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xmlns=""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xmlns=""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xmlns=""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xmlns="" id="{30A4E45B-5A62-486A-A1D8-3DFC68271A02}"/>
              </a:ext>
            </a:extLst>
          </p:cNvPr>
          <p:cNvSpPr>
            <a:spLocks noGrp="1"/>
          </p:cNvSpPr>
          <p:nvPr>
            <p:ph type="pic" sz="quarter" idx="32"/>
          </p:nvPr>
        </p:nvSpPr>
        <p:spPr>
          <a:xfrm>
            <a:off x="4549297"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xmlns="" id="{F26808ED-3D16-406B-B6F9-578356823811}"/>
              </a:ext>
            </a:extLst>
          </p:cNvPr>
          <p:cNvGrpSpPr/>
          <p:nvPr userDrawn="1"/>
        </p:nvGrpSpPr>
        <p:grpSpPr>
          <a:xfrm>
            <a:off x="4536716" y="1288718"/>
            <a:ext cx="1075582" cy="1340541"/>
            <a:chOff x="2861774" y="4008885"/>
            <a:chExt cx="3010572" cy="2885804"/>
          </a:xfrm>
        </p:grpSpPr>
        <p:grpSp>
          <p:nvGrpSpPr>
            <p:cNvPr id="72" name="Group 71">
              <a:extLst>
                <a:ext uri="{FF2B5EF4-FFF2-40B4-BE49-F238E27FC236}">
                  <a16:creationId xmlns:a16="http://schemas.microsoft.com/office/drawing/2014/main" xmlns=""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xmlns=""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xmlns=""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xmlns=""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xmlns=""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xmlns=""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480446684"/>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isyDeck Master - 71">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xmlns="" id="{7EBA7AC4-C559-4361-9425-13998D833515}"/>
              </a:ext>
            </a:extLst>
          </p:cNvPr>
          <p:cNvSpPr>
            <a:spLocks noGrp="1"/>
          </p:cNvSpPr>
          <p:nvPr>
            <p:ph type="pic" sz="quarter" idx="21"/>
          </p:nvPr>
        </p:nvSpPr>
        <p:spPr>
          <a:xfrm>
            <a:off x="768104" y="1640067"/>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xmlns="" id="{0B832515-0C13-445B-AC8E-736035494441}"/>
              </a:ext>
            </a:extLst>
          </p:cNvPr>
          <p:cNvSpPr>
            <a:spLocks noGrp="1"/>
          </p:cNvSpPr>
          <p:nvPr>
            <p:ph type="pic" sz="quarter" idx="25"/>
          </p:nvPr>
        </p:nvSpPr>
        <p:spPr>
          <a:xfrm>
            <a:off x="279398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xmlns="" id="{9E381742-AEF5-4526-BCB5-B7B91920D6C0}"/>
              </a:ext>
            </a:extLst>
          </p:cNvPr>
          <p:cNvSpPr>
            <a:spLocks noGrp="1"/>
          </p:cNvSpPr>
          <p:nvPr>
            <p:ph type="pic" sz="quarter" idx="26"/>
          </p:nvPr>
        </p:nvSpPr>
        <p:spPr>
          <a:xfrm>
            <a:off x="684575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34" name="Group 33">
            <a:extLst>
              <a:ext uri="{FF2B5EF4-FFF2-40B4-BE49-F238E27FC236}">
                <a16:creationId xmlns:a16="http://schemas.microsoft.com/office/drawing/2014/main" xmlns="" id="{35793154-9D5D-4BA2-84E9-703FB235D457}"/>
              </a:ext>
            </a:extLst>
          </p:cNvPr>
          <p:cNvGrpSpPr/>
          <p:nvPr userDrawn="1"/>
        </p:nvGrpSpPr>
        <p:grpSpPr>
          <a:xfrm>
            <a:off x="755534" y="1669899"/>
            <a:ext cx="1075582" cy="1340541"/>
            <a:chOff x="2861774" y="4008885"/>
            <a:chExt cx="3010572" cy="2885804"/>
          </a:xfrm>
        </p:grpSpPr>
        <p:grpSp>
          <p:nvGrpSpPr>
            <p:cNvPr id="35" name="Group 34">
              <a:extLst>
                <a:ext uri="{FF2B5EF4-FFF2-40B4-BE49-F238E27FC236}">
                  <a16:creationId xmlns:a16="http://schemas.microsoft.com/office/drawing/2014/main" xmlns="" id="{398548BD-C971-4F1B-8494-EF66D215B7FB}"/>
                </a:ext>
              </a:extLst>
            </p:cNvPr>
            <p:cNvGrpSpPr/>
            <p:nvPr userDrawn="1"/>
          </p:nvGrpSpPr>
          <p:grpSpPr>
            <a:xfrm>
              <a:off x="2861774" y="4008885"/>
              <a:ext cx="460463" cy="105905"/>
              <a:chOff x="2861774" y="4008885"/>
              <a:chExt cx="460463" cy="105905"/>
            </a:xfrm>
          </p:grpSpPr>
          <p:cxnSp>
            <p:nvCxnSpPr>
              <p:cNvPr id="43" name="Straight Connector 42">
                <a:extLst>
                  <a:ext uri="{FF2B5EF4-FFF2-40B4-BE49-F238E27FC236}">
                    <a16:creationId xmlns:a16="http://schemas.microsoft.com/office/drawing/2014/main" xmlns="" id="{168CB0E4-E029-40EF-9BC5-0C3AB79E9D8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xmlns="" id="{28129F37-9949-4513-BD3A-A1C900A04533}"/>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1E54BB69-B423-41E6-BAC8-7FCBF5D4924D}"/>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888AF675-051D-4586-B591-473D8758CE05}"/>
                </a:ext>
              </a:extLst>
            </p:cNvPr>
            <p:cNvGrpSpPr/>
            <p:nvPr userDrawn="1"/>
          </p:nvGrpSpPr>
          <p:grpSpPr>
            <a:xfrm>
              <a:off x="5411883" y="6788784"/>
              <a:ext cx="460463" cy="105905"/>
              <a:chOff x="5411883" y="6788784"/>
              <a:chExt cx="460463" cy="105905"/>
            </a:xfrm>
          </p:grpSpPr>
          <p:cxnSp>
            <p:nvCxnSpPr>
              <p:cNvPr id="37" name="Straight Connector 36">
                <a:extLst>
                  <a:ext uri="{FF2B5EF4-FFF2-40B4-BE49-F238E27FC236}">
                    <a16:creationId xmlns:a16="http://schemas.microsoft.com/office/drawing/2014/main" xmlns="" id="{D1C5E5C1-8B44-4387-B4AE-970983BBF65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08E4E714-9E3A-45F1-BD9A-F39BAB5FF53B}"/>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a:extLst>
                  <a:ext uri="{FF2B5EF4-FFF2-40B4-BE49-F238E27FC236}">
                    <a16:creationId xmlns:a16="http://schemas.microsoft.com/office/drawing/2014/main" xmlns="" id="{F4EE3CA5-D12C-4587-ABAD-A4C1F2791E61}"/>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61" name="Group 60">
            <a:extLst>
              <a:ext uri="{FF2B5EF4-FFF2-40B4-BE49-F238E27FC236}">
                <a16:creationId xmlns:a16="http://schemas.microsoft.com/office/drawing/2014/main" xmlns="" id="{9D7F7524-0E63-40AA-B48C-1D337D0CD796}"/>
              </a:ext>
            </a:extLst>
          </p:cNvPr>
          <p:cNvGrpSpPr/>
          <p:nvPr userDrawn="1"/>
        </p:nvGrpSpPr>
        <p:grpSpPr>
          <a:xfrm>
            <a:off x="2781419" y="1669899"/>
            <a:ext cx="1075582" cy="1340541"/>
            <a:chOff x="2861774" y="4008885"/>
            <a:chExt cx="3010572" cy="2885804"/>
          </a:xfrm>
        </p:grpSpPr>
        <p:grpSp>
          <p:nvGrpSpPr>
            <p:cNvPr id="62" name="Group 61">
              <a:extLst>
                <a:ext uri="{FF2B5EF4-FFF2-40B4-BE49-F238E27FC236}">
                  <a16:creationId xmlns:a16="http://schemas.microsoft.com/office/drawing/2014/main" xmlns="" id="{538776DB-4500-4BC8-9CBC-508146A39C52}"/>
                </a:ext>
              </a:extLst>
            </p:cNvPr>
            <p:cNvGrpSpPr/>
            <p:nvPr userDrawn="1"/>
          </p:nvGrpSpPr>
          <p:grpSpPr>
            <a:xfrm>
              <a:off x="2861774" y="4008885"/>
              <a:ext cx="460463" cy="105905"/>
              <a:chOff x="2861774" y="4008885"/>
              <a:chExt cx="460463" cy="105905"/>
            </a:xfrm>
          </p:grpSpPr>
          <p:cxnSp>
            <p:nvCxnSpPr>
              <p:cNvPr id="67" name="Straight Connector 66">
                <a:extLst>
                  <a:ext uri="{FF2B5EF4-FFF2-40B4-BE49-F238E27FC236}">
                    <a16:creationId xmlns:a16="http://schemas.microsoft.com/office/drawing/2014/main" xmlns="" id="{C5CE1461-7A4E-4F2E-AB22-4AF66410FECF}"/>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8" name="Straight Connector 67">
                <a:extLst>
                  <a:ext uri="{FF2B5EF4-FFF2-40B4-BE49-F238E27FC236}">
                    <a16:creationId xmlns:a16="http://schemas.microsoft.com/office/drawing/2014/main" xmlns="" id="{FC109994-380D-464F-B347-84F7B2185171}"/>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9" name="Straight Connector 68">
                <a:extLst>
                  <a:ext uri="{FF2B5EF4-FFF2-40B4-BE49-F238E27FC236}">
                    <a16:creationId xmlns:a16="http://schemas.microsoft.com/office/drawing/2014/main" xmlns="" id="{104DD394-7187-471E-B170-EF3FB24E13F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63" name="Group 62">
              <a:extLst>
                <a:ext uri="{FF2B5EF4-FFF2-40B4-BE49-F238E27FC236}">
                  <a16:creationId xmlns:a16="http://schemas.microsoft.com/office/drawing/2014/main" xmlns="" id="{D85D35E4-5561-4B92-90D3-B16B8495E135}"/>
                </a:ext>
              </a:extLst>
            </p:cNvPr>
            <p:cNvGrpSpPr/>
            <p:nvPr userDrawn="1"/>
          </p:nvGrpSpPr>
          <p:grpSpPr>
            <a:xfrm>
              <a:off x="5411883" y="6788784"/>
              <a:ext cx="460463" cy="105905"/>
              <a:chOff x="5411883" y="6788784"/>
              <a:chExt cx="460463" cy="105905"/>
            </a:xfrm>
          </p:grpSpPr>
          <p:cxnSp>
            <p:nvCxnSpPr>
              <p:cNvPr id="64" name="Straight Connector 63">
                <a:extLst>
                  <a:ext uri="{FF2B5EF4-FFF2-40B4-BE49-F238E27FC236}">
                    <a16:creationId xmlns:a16="http://schemas.microsoft.com/office/drawing/2014/main" xmlns="" id="{F764684A-5EA4-4A6F-AF6A-7816FBBE0ECF}"/>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xmlns="" id="{E9B5A8AD-8779-47E5-8322-73C107733F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6" name="Straight Connector 65">
                <a:extLst>
                  <a:ext uri="{FF2B5EF4-FFF2-40B4-BE49-F238E27FC236}">
                    <a16:creationId xmlns:a16="http://schemas.microsoft.com/office/drawing/2014/main" xmlns="" id="{5A07F922-E3D5-4E78-B2A7-5AB58E94DE88}"/>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70" name="Group 69">
            <a:extLst>
              <a:ext uri="{FF2B5EF4-FFF2-40B4-BE49-F238E27FC236}">
                <a16:creationId xmlns:a16="http://schemas.microsoft.com/office/drawing/2014/main" xmlns="" id="{F7F93BF2-F02B-4B3C-9721-085A41B0A7AE}"/>
              </a:ext>
            </a:extLst>
          </p:cNvPr>
          <p:cNvGrpSpPr/>
          <p:nvPr userDrawn="1"/>
        </p:nvGrpSpPr>
        <p:grpSpPr>
          <a:xfrm>
            <a:off x="6833189" y="1669899"/>
            <a:ext cx="1075582" cy="1340541"/>
            <a:chOff x="2861774" y="4008885"/>
            <a:chExt cx="3010572" cy="2885804"/>
          </a:xfrm>
        </p:grpSpPr>
        <p:grpSp>
          <p:nvGrpSpPr>
            <p:cNvPr id="71" name="Group 70">
              <a:extLst>
                <a:ext uri="{FF2B5EF4-FFF2-40B4-BE49-F238E27FC236}">
                  <a16:creationId xmlns:a16="http://schemas.microsoft.com/office/drawing/2014/main" xmlns="" id="{DD7C7439-B7B5-477B-8576-7FAA6B366CB0}"/>
                </a:ext>
              </a:extLst>
            </p:cNvPr>
            <p:cNvGrpSpPr/>
            <p:nvPr userDrawn="1"/>
          </p:nvGrpSpPr>
          <p:grpSpPr>
            <a:xfrm>
              <a:off x="2861774" y="4008885"/>
              <a:ext cx="460463" cy="105905"/>
              <a:chOff x="2861774" y="4008885"/>
              <a:chExt cx="460463" cy="105905"/>
            </a:xfrm>
          </p:grpSpPr>
          <p:cxnSp>
            <p:nvCxnSpPr>
              <p:cNvPr id="76" name="Straight Connector 75">
                <a:extLst>
                  <a:ext uri="{FF2B5EF4-FFF2-40B4-BE49-F238E27FC236}">
                    <a16:creationId xmlns:a16="http://schemas.microsoft.com/office/drawing/2014/main" xmlns="" id="{93C6897D-DDE4-4D17-B83D-2CA8BF51B40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7" name="Straight Connector 76">
                <a:extLst>
                  <a:ext uri="{FF2B5EF4-FFF2-40B4-BE49-F238E27FC236}">
                    <a16:creationId xmlns:a16="http://schemas.microsoft.com/office/drawing/2014/main" xmlns="" id="{E91EC9BD-065A-450C-ADC0-60734302B0F4}"/>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F6D8529C-847B-4EFB-B4F8-6DAEBDEA33EA}"/>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2" name="Group 71">
              <a:extLst>
                <a:ext uri="{FF2B5EF4-FFF2-40B4-BE49-F238E27FC236}">
                  <a16:creationId xmlns:a16="http://schemas.microsoft.com/office/drawing/2014/main" xmlns="" id="{B56AC910-A546-4522-ACFA-CF77C476946A}"/>
                </a:ext>
              </a:extLst>
            </p:cNvPr>
            <p:cNvGrpSpPr/>
            <p:nvPr userDrawn="1"/>
          </p:nvGrpSpPr>
          <p:grpSpPr>
            <a:xfrm>
              <a:off x="5411883" y="6788784"/>
              <a:ext cx="460463" cy="105905"/>
              <a:chOff x="5411883" y="6788784"/>
              <a:chExt cx="460463" cy="105905"/>
            </a:xfrm>
          </p:grpSpPr>
          <p:cxnSp>
            <p:nvCxnSpPr>
              <p:cNvPr id="73" name="Straight Connector 72">
                <a:extLst>
                  <a:ext uri="{FF2B5EF4-FFF2-40B4-BE49-F238E27FC236}">
                    <a16:creationId xmlns:a16="http://schemas.microsoft.com/office/drawing/2014/main" xmlns="" id="{32A09483-5F28-4557-8115-018B5C9156B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4" name="Straight Connector 73">
                <a:extLst>
                  <a:ext uri="{FF2B5EF4-FFF2-40B4-BE49-F238E27FC236}">
                    <a16:creationId xmlns:a16="http://schemas.microsoft.com/office/drawing/2014/main" xmlns="" id="{4A76A30D-F4AE-401F-A1C3-93DA047A51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4FB15390-D4EE-49F5-8ADA-E78FD45CDCC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9" name="Picture Placeholder 85">
            <a:extLst>
              <a:ext uri="{FF2B5EF4-FFF2-40B4-BE49-F238E27FC236}">
                <a16:creationId xmlns:a16="http://schemas.microsoft.com/office/drawing/2014/main" xmlns="" id="{2CDAF8EF-74AF-4CF0-BC6E-82B819309646}"/>
              </a:ext>
            </a:extLst>
          </p:cNvPr>
          <p:cNvSpPr>
            <a:spLocks noGrp="1"/>
          </p:cNvSpPr>
          <p:nvPr>
            <p:ph type="pic" sz="quarter" idx="27"/>
          </p:nvPr>
        </p:nvSpPr>
        <p:spPr>
          <a:xfrm>
            <a:off x="4819874"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80" name="Group 79">
            <a:extLst>
              <a:ext uri="{FF2B5EF4-FFF2-40B4-BE49-F238E27FC236}">
                <a16:creationId xmlns:a16="http://schemas.microsoft.com/office/drawing/2014/main" xmlns="" id="{5BEE269C-5987-4705-AF1A-3BEF20213355}"/>
              </a:ext>
            </a:extLst>
          </p:cNvPr>
          <p:cNvGrpSpPr/>
          <p:nvPr userDrawn="1"/>
        </p:nvGrpSpPr>
        <p:grpSpPr>
          <a:xfrm>
            <a:off x="4807304" y="1669899"/>
            <a:ext cx="1075582" cy="1340541"/>
            <a:chOff x="2861774" y="4008885"/>
            <a:chExt cx="3010572" cy="2885804"/>
          </a:xfrm>
        </p:grpSpPr>
        <p:grpSp>
          <p:nvGrpSpPr>
            <p:cNvPr id="81" name="Group 80">
              <a:extLst>
                <a:ext uri="{FF2B5EF4-FFF2-40B4-BE49-F238E27FC236}">
                  <a16:creationId xmlns:a16="http://schemas.microsoft.com/office/drawing/2014/main" xmlns="" id="{E14B7921-8E80-4A03-8F19-FDDCDA2A7DE7}"/>
                </a:ext>
              </a:extLst>
            </p:cNvPr>
            <p:cNvGrpSpPr/>
            <p:nvPr userDrawn="1"/>
          </p:nvGrpSpPr>
          <p:grpSpPr>
            <a:xfrm>
              <a:off x="2861774" y="4008885"/>
              <a:ext cx="460463" cy="105905"/>
              <a:chOff x="2861774" y="4008885"/>
              <a:chExt cx="460463" cy="105905"/>
            </a:xfrm>
          </p:grpSpPr>
          <p:cxnSp>
            <p:nvCxnSpPr>
              <p:cNvPr id="86" name="Straight Connector 85">
                <a:extLst>
                  <a:ext uri="{FF2B5EF4-FFF2-40B4-BE49-F238E27FC236}">
                    <a16:creationId xmlns:a16="http://schemas.microsoft.com/office/drawing/2014/main" xmlns="" id="{6B42C3DC-0A27-48BB-A00B-7F3878A665C6}"/>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7" name="Straight Connector 86">
                <a:extLst>
                  <a:ext uri="{FF2B5EF4-FFF2-40B4-BE49-F238E27FC236}">
                    <a16:creationId xmlns:a16="http://schemas.microsoft.com/office/drawing/2014/main" xmlns="" id="{5A15106B-42D5-40FD-8797-1D18F530CAC5}"/>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8" name="Straight Connector 87">
                <a:extLst>
                  <a:ext uri="{FF2B5EF4-FFF2-40B4-BE49-F238E27FC236}">
                    <a16:creationId xmlns:a16="http://schemas.microsoft.com/office/drawing/2014/main" xmlns="" id="{443033F5-628F-4E16-BCE9-5DFCCD79A0C1}"/>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2" name="Group 81">
              <a:extLst>
                <a:ext uri="{FF2B5EF4-FFF2-40B4-BE49-F238E27FC236}">
                  <a16:creationId xmlns:a16="http://schemas.microsoft.com/office/drawing/2014/main" xmlns="" id="{19027318-0D6A-48BD-81A2-844E267657F0}"/>
                </a:ext>
              </a:extLst>
            </p:cNvPr>
            <p:cNvGrpSpPr/>
            <p:nvPr userDrawn="1"/>
          </p:nvGrpSpPr>
          <p:grpSpPr>
            <a:xfrm>
              <a:off x="5411883" y="6788784"/>
              <a:ext cx="460463" cy="105905"/>
              <a:chOff x="5411883" y="6788784"/>
              <a:chExt cx="460463" cy="105905"/>
            </a:xfrm>
          </p:grpSpPr>
          <p:cxnSp>
            <p:nvCxnSpPr>
              <p:cNvPr id="83" name="Straight Connector 82">
                <a:extLst>
                  <a:ext uri="{FF2B5EF4-FFF2-40B4-BE49-F238E27FC236}">
                    <a16:creationId xmlns:a16="http://schemas.microsoft.com/office/drawing/2014/main" xmlns="" id="{CD1ABA50-99E4-4465-935C-A049125B7A0E}"/>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4" name="Straight Connector 83">
                <a:extLst>
                  <a:ext uri="{FF2B5EF4-FFF2-40B4-BE49-F238E27FC236}">
                    <a16:creationId xmlns:a16="http://schemas.microsoft.com/office/drawing/2014/main" xmlns="" id="{E7060F1C-1C4F-44DC-A87D-AA955D36CB83}"/>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5" name="Straight Connector 84">
                <a:extLst>
                  <a:ext uri="{FF2B5EF4-FFF2-40B4-BE49-F238E27FC236}">
                    <a16:creationId xmlns:a16="http://schemas.microsoft.com/office/drawing/2014/main" xmlns="" id="{EF8617B6-4E59-4982-AD73-47B79DA178FF}"/>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89" name="Title 1">
            <a:extLst>
              <a:ext uri="{FF2B5EF4-FFF2-40B4-BE49-F238E27FC236}">
                <a16:creationId xmlns:a16="http://schemas.microsoft.com/office/drawing/2014/main" xmlns=""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xmlns=""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xmlns=""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xmlns=""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xmlns=""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xmlns=""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xmlns=""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xmlns=""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xmlns=""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1315855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isyDeck Master - 72">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xmlns="" id="{7EBA7AC4-C559-4361-9425-13998D833515}"/>
              </a:ext>
            </a:extLst>
          </p:cNvPr>
          <p:cNvSpPr>
            <a:spLocks noGrp="1"/>
          </p:cNvSpPr>
          <p:nvPr>
            <p:ph type="pic" sz="quarter" idx="21"/>
          </p:nvPr>
        </p:nvSpPr>
        <p:spPr>
          <a:xfrm>
            <a:off x="478658" y="1146066"/>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xmlns="" id="{0B832515-0C13-445B-AC8E-736035494441}"/>
              </a:ext>
            </a:extLst>
          </p:cNvPr>
          <p:cNvSpPr>
            <a:spLocks noGrp="1"/>
          </p:cNvSpPr>
          <p:nvPr>
            <p:ph type="pic" sz="quarter" idx="25"/>
          </p:nvPr>
        </p:nvSpPr>
        <p:spPr>
          <a:xfrm>
            <a:off x="2504543"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xmlns="" id="{9E381742-AEF5-4526-BCB5-B7B91920D6C0}"/>
              </a:ext>
            </a:extLst>
          </p:cNvPr>
          <p:cNvSpPr>
            <a:spLocks noGrp="1"/>
          </p:cNvSpPr>
          <p:nvPr>
            <p:ph type="pic" sz="quarter" idx="26"/>
          </p:nvPr>
        </p:nvSpPr>
        <p:spPr>
          <a:xfrm>
            <a:off x="6556314"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79" name="Picture Placeholder 85">
            <a:extLst>
              <a:ext uri="{FF2B5EF4-FFF2-40B4-BE49-F238E27FC236}">
                <a16:creationId xmlns:a16="http://schemas.microsoft.com/office/drawing/2014/main" xmlns="" id="{2CDAF8EF-74AF-4CF0-BC6E-82B819309646}"/>
              </a:ext>
            </a:extLst>
          </p:cNvPr>
          <p:cNvSpPr>
            <a:spLocks noGrp="1"/>
          </p:cNvSpPr>
          <p:nvPr>
            <p:ph type="pic" sz="quarter" idx="27"/>
          </p:nvPr>
        </p:nvSpPr>
        <p:spPr>
          <a:xfrm>
            <a:off x="4530429"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89" name="Title 1">
            <a:extLst>
              <a:ext uri="{FF2B5EF4-FFF2-40B4-BE49-F238E27FC236}">
                <a16:creationId xmlns:a16="http://schemas.microsoft.com/office/drawing/2014/main" xmlns=""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xmlns=""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xmlns=""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xmlns=""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xmlns=""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xmlns=""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xmlns=""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xmlns=""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xmlns=""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97255777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isyDeck Master - 73">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4B13CE2A-466C-4532-974F-299AC9D9C29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flipH="1">
            <a:off x="5562304" y="-1"/>
            <a:ext cx="665432" cy="6372227"/>
          </a:xfrm>
          <a:prstGeom prst="rect">
            <a:avLst/>
          </a:prstGeom>
        </p:spPr>
      </p:pic>
      <p:sp>
        <p:nvSpPr>
          <p:cNvPr id="23" name="Picture Placeholder 24">
            <a:extLst>
              <a:ext uri="{FF2B5EF4-FFF2-40B4-BE49-F238E27FC236}">
                <a16:creationId xmlns:a16="http://schemas.microsoft.com/office/drawing/2014/main" xmlns="" id="{4FE2D711-50A7-42E9-AEDE-6EB05121D288}"/>
              </a:ext>
            </a:extLst>
          </p:cNvPr>
          <p:cNvSpPr>
            <a:spLocks noGrp="1"/>
          </p:cNvSpPr>
          <p:nvPr>
            <p:ph type="pic" sz="quarter" idx="17"/>
          </p:nvPr>
        </p:nvSpPr>
        <p:spPr>
          <a:xfrm>
            <a:off x="5687638" y="-2949"/>
            <a:ext cx="3015366" cy="6375175"/>
          </a:xfrm>
          <a:custGeom>
            <a:avLst/>
            <a:gdLst>
              <a:gd name="connsiteX0" fmla="*/ 49020 w 3164816"/>
              <a:gd name="connsiteY0" fmla="*/ 0 h 6861175"/>
              <a:gd name="connsiteX1" fmla="*/ 543544 w 3164816"/>
              <a:gd name="connsiteY1" fmla="*/ 0 h 6861175"/>
              <a:gd name="connsiteX2" fmla="*/ 543544 w 3164816"/>
              <a:gd name="connsiteY2" fmla="*/ 1675 h 6861175"/>
              <a:gd name="connsiteX3" fmla="*/ 543544 w 3164816"/>
              <a:gd name="connsiteY3" fmla="*/ 3174 h 6861175"/>
              <a:gd name="connsiteX4" fmla="*/ 3164816 w 3164816"/>
              <a:gd name="connsiteY4" fmla="*/ 3174 h 6861175"/>
              <a:gd name="connsiteX5" fmla="*/ 3164816 w 3164816"/>
              <a:gd name="connsiteY5" fmla="*/ 6861175 h 6861175"/>
              <a:gd name="connsiteX6" fmla="*/ 543544 w 3164816"/>
              <a:gd name="connsiteY6" fmla="*/ 6861175 h 6861175"/>
              <a:gd name="connsiteX7" fmla="*/ 542578 w 3164816"/>
              <a:gd name="connsiteY7" fmla="*/ 6861175 h 6861175"/>
              <a:gd name="connsiteX8" fmla="*/ 535817 w 3164816"/>
              <a:gd name="connsiteY8" fmla="*/ 6861175 h 6861175"/>
              <a:gd name="connsiteX9" fmla="*/ 517466 w 3164816"/>
              <a:gd name="connsiteY9" fmla="*/ 6861175 h 6861175"/>
              <a:gd name="connsiteX10" fmla="*/ 481729 w 3164816"/>
              <a:gd name="connsiteY10" fmla="*/ 6861175 h 6861175"/>
              <a:gd name="connsiteX11" fmla="*/ 422811 w 3164816"/>
              <a:gd name="connsiteY11" fmla="*/ 6861175 h 6861175"/>
              <a:gd name="connsiteX12" fmla="*/ 382848 w 3164816"/>
              <a:gd name="connsiteY12" fmla="*/ 6861175 h 6861175"/>
              <a:gd name="connsiteX13" fmla="*/ 378484 w 3164816"/>
              <a:gd name="connsiteY13" fmla="*/ 6861175 h 6861175"/>
              <a:gd name="connsiteX14" fmla="*/ 334916 w 3164816"/>
              <a:gd name="connsiteY14" fmla="*/ 6861175 h 6861175"/>
              <a:gd name="connsiteX15" fmla="*/ 49020 w 3164816"/>
              <a:gd name="connsiteY15" fmla="*/ 6861175 h 6861175"/>
              <a:gd name="connsiteX16" fmla="*/ 42952 w 3164816"/>
              <a:gd name="connsiteY16" fmla="*/ 6820537 h 6861175"/>
              <a:gd name="connsiteX17" fmla="*/ 33850 w 3164816"/>
              <a:gd name="connsiteY17" fmla="*/ 6790057 h 6861175"/>
              <a:gd name="connsiteX18" fmla="*/ 30817 w 3164816"/>
              <a:gd name="connsiteY18" fmla="*/ 6773125 h 6861175"/>
              <a:gd name="connsiteX19" fmla="*/ 36884 w 3164816"/>
              <a:gd name="connsiteY19" fmla="*/ 6732486 h 6861175"/>
              <a:gd name="connsiteX20" fmla="*/ 36884 w 3164816"/>
              <a:gd name="connsiteY20" fmla="*/ 6725713 h 6861175"/>
              <a:gd name="connsiteX21" fmla="*/ 33850 w 3164816"/>
              <a:gd name="connsiteY21" fmla="*/ 6691847 h 6861175"/>
              <a:gd name="connsiteX22" fmla="*/ 21715 w 3164816"/>
              <a:gd name="connsiteY22" fmla="*/ 6647822 h 6861175"/>
              <a:gd name="connsiteX23" fmla="*/ 21715 w 3164816"/>
              <a:gd name="connsiteY23" fmla="*/ 6637662 h 6861175"/>
              <a:gd name="connsiteX24" fmla="*/ 30817 w 3164816"/>
              <a:gd name="connsiteY24" fmla="*/ 6624116 h 6861175"/>
              <a:gd name="connsiteX25" fmla="*/ 36884 w 3164816"/>
              <a:gd name="connsiteY25" fmla="*/ 6603797 h 6861175"/>
              <a:gd name="connsiteX26" fmla="*/ 36884 w 3164816"/>
              <a:gd name="connsiteY26" fmla="*/ 6597023 h 6861175"/>
              <a:gd name="connsiteX27" fmla="*/ 36884 w 3164816"/>
              <a:gd name="connsiteY27" fmla="*/ 6556385 h 6861175"/>
              <a:gd name="connsiteX28" fmla="*/ 36884 w 3164816"/>
              <a:gd name="connsiteY28" fmla="*/ 6539452 h 6861175"/>
              <a:gd name="connsiteX29" fmla="*/ 36884 w 3164816"/>
              <a:gd name="connsiteY29" fmla="*/ 6519132 h 6861175"/>
              <a:gd name="connsiteX30" fmla="*/ 30817 w 3164816"/>
              <a:gd name="connsiteY30" fmla="*/ 6495427 h 6861175"/>
              <a:gd name="connsiteX31" fmla="*/ 30817 w 3164816"/>
              <a:gd name="connsiteY31" fmla="*/ 6492040 h 6861175"/>
              <a:gd name="connsiteX32" fmla="*/ 27783 w 3164816"/>
              <a:gd name="connsiteY32" fmla="*/ 6471721 h 6861175"/>
              <a:gd name="connsiteX33" fmla="*/ 24749 w 3164816"/>
              <a:gd name="connsiteY33" fmla="*/ 6441242 h 6861175"/>
              <a:gd name="connsiteX34" fmla="*/ 49020 w 3164816"/>
              <a:gd name="connsiteY34" fmla="*/ 6387057 h 6861175"/>
              <a:gd name="connsiteX35" fmla="*/ 45986 w 3164816"/>
              <a:gd name="connsiteY35" fmla="*/ 6387057 h 6861175"/>
              <a:gd name="connsiteX36" fmla="*/ 42952 w 3164816"/>
              <a:gd name="connsiteY36" fmla="*/ 6373510 h 6861175"/>
              <a:gd name="connsiteX37" fmla="*/ 42952 w 3164816"/>
              <a:gd name="connsiteY37" fmla="*/ 6370124 h 6861175"/>
              <a:gd name="connsiteX38" fmla="*/ 36884 w 3164816"/>
              <a:gd name="connsiteY38" fmla="*/ 6366737 h 6861175"/>
              <a:gd name="connsiteX39" fmla="*/ 39918 w 3164816"/>
              <a:gd name="connsiteY39" fmla="*/ 6359964 h 6861175"/>
              <a:gd name="connsiteX40" fmla="*/ 42952 w 3164816"/>
              <a:gd name="connsiteY40" fmla="*/ 6326098 h 6861175"/>
              <a:gd name="connsiteX41" fmla="*/ 39918 w 3164816"/>
              <a:gd name="connsiteY41" fmla="*/ 6309166 h 6861175"/>
              <a:gd name="connsiteX42" fmla="*/ 55088 w 3164816"/>
              <a:gd name="connsiteY42" fmla="*/ 6299006 h 6861175"/>
              <a:gd name="connsiteX43" fmla="*/ 55088 w 3164816"/>
              <a:gd name="connsiteY43" fmla="*/ 6285460 h 6861175"/>
              <a:gd name="connsiteX44" fmla="*/ 58122 w 3164816"/>
              <a:gd name="connsiteY44" fmla="*/ 6271913 h 6861175"/>
              <a:gd name="connsiteX45" fmla="*/ 45986 w 3164816"/>
              <a:gd name="connsiteY45" fmla="*/ 6271913 h 6861175"/>
              <a:gd name="connsiteX46" fmla="*/ 33850 w 3164816"/>
              <a:gd name="connsiteY46" fmla="*/ 6221115 h 6861175"/>
              <a:gd name="connsiteX47" fmla="*/ 39918 w 3164816"/>
              <a:gd name="connsiteY47" fmla="*/ 6204182 h 6861175"/>
              <a:gd name="connsiteX48" fmla="*/ 33850 w 3164816"/>
              <a:gd name="connsiteY48" fmla="*/ 6183863 h 6861175"/>
              <a:gd name="connsiteX49" fmla="*/ 30817 w 3164816"/>
              <a:gd name="connsiteY49" fmla="*/ 6139838 h 6861175"/>
              <a:gd name="connsiteX50" fmla="*/ 30817 w 3164816"/>
              <a:gd name="connsiteY50" fmla="*/ 6112745 h 6861175"/>
              <a:gd name="connsiteX51" fmla="*/ 30817 w 3164816"/>
              <a:gd name="connsiteY51" fmla="*/ 6089039 h 6861175"/>
              <a:gd name="connsiteX52" fmla="*/ 36884 w 3164816"/>
              <a:gd name="connsiteY52" fmla="*/ 6068720 h 6861175"/>
              <a:gd name="connsiteX53" fmla="*/ 30817 w 3164816"/>
              <a:gd name="connsiteY53" fmla="*/ 6055173 h 6861175"/>
              <a:gd name="connsiteX54" fmla="*/ 24749 w 3164816"/>
              <a:gd name="connsiteY54" fmla="*/ 6024694 h 6861175"/>
              <a:gd name="connsiteX55" fmla="*/ 24749 w 3164816"/>
              <a:gd name="connsiteY55" fmla="*/ 6014535 h 6861175"/>
              <a:gd name="connsiteX56" fmla="*/ 30817 w 3164816"/>
              <a:gd name="connsiteY56" fmla="*/ 5977283 h 6861175"/>
              <a:gd name="connsiteX57" fmla="*/ 36884 w 3164816"/>
              <a:gd name="connsiteY57" fmla="*/ 5960350 h 6861175"/>
              <a:gd name="connsiteX58" fmla="*/ 30817 w 3164816"/>
              <a:gd name="connsiteY58" fmla="*/ 5936644 h 6861175"/>
              <a:gd name="connsiteX59" fmla="*/ 21715 w 3164816"/>
              <a:gd name="connsiteY59" fmla="*/ 5906165 h 6861175"/>
              <a:gd name="connsiteX60" fmla="*/ 18681 w 3164816"/>
              <a:gd name="connsiteY60" fmla="*/ 5896005 h 6861175"/>
              <a:gd name="connsiteX61" fmla="*/ 39918 w 3164816"/>
              <a:gd name="connsiteY61" fmla="*/ 5868913 h 6861175"/>
              <a:gd name="connsiteX62" fmla="*/ 36884 w 3164816"/>
              <a:gd name="connsiteY62" fmla="*/ 5818114 h 6861175"/>
              <a:gd name="connsiteX63" fmla="*/ 42952 w 3164816"/>
              <a:gd name="connsiteY63" fmla="*/ 5791022 h 6861175"/>
              <a:gd name="connsiteX64" fmla="*/ 52054 w 3164816"/>
              <a:gd name="connsiteY64" fmla="*/ 5774089 h 6861175"/>
              <a:gd name="connsiteX65" fmla="*/ 55088 w 3164816"/>
              <a:gd name="connsiteY65" fmla="*/ 5763929 h 6861175"/>
              <a:gd name="connsiteX66" fmla="*/ 61155 w 3164816"/>
              <a:gd name="connsiteY66" fmla="*/ 5723290 h 6861175"/>
              <a:gd name="connsiteX67" fmla="*/ 61155 w 3164816"/>
              <a:gd name="connsiteY67" fmla="*/ 5709744 h 6861175"/>
              <a:gd name="connsiteX68" fmla="*/ 64189 w 3164816"/>
              <a:gd name="connsiteY68" fmla="*/ 5702971 h 6861175"/>
              <a:gd name="connsiteX69" fmla="*/ 64189 w 3164816"/>
              <a:gd name="connsiteY69" fmla="*/ 5669105 h 6861175"/>
              <a:gd name="connsiteX70" fmla="*/ 67223 w 3164816"/>
              <a:gd name="connsiteY70" fmla="*/ 5658946 h 6861175"/>
              <a:gd name="connsiteX71" fmla="*/ 76325 w 3164816"/>
              <a:gd name="connsiteY71" fmla="*/ 5638626 h 6861175"/>
              <a:gd name="connsiteX72" fmla="*/ 79359 w 3164816"/>
              <a:gd name="connsiteY72" fmla="*/ 5621693 h 6861175"/>
              <a:gd name="connsiteX73" fmla="*/ 91494 w 3164816"/>
              <a:gd name="connsiteY73" fmla="*/ 5608147 h 6861175"/>
              <a:gd name="connsiteX74" fmla="*/ 67223 w 3164816"/>
              <a:gd name="connsiteY74" fmla="*/ 5550576 h 6861175"/>
              <a:gd name="connsiteX75" fmla="*/ 70257 w 3164816"/>
              <a:gd name="connsiteY75" fmla="*/ 5543803 h 6861175"/>
              <a:gd name="connsiteX76" fmla="*/ 76325 w 3164816"/>
              <a:gd name="connsiteY76" fmla="*/ 5496391 h 6861175"/>
              <a:gd name="connsiteX77" fmla="*/ 70257 w 3164816"/>
              <a:gd name="connsiteY77" fmla="*/ 5486231 h 6861175"/>
              <a:gd name="connsiteX78" fmla="*/ 73291 w 3164816"/>
              <a:gd name="connsiteY78" fmla="*/ 5479458 h 6861175"/>
              <a:gd name="connsiteX79" fmla="*/ 85427 w 3164816"/>
              <a:gd name="connsiteY79" fmla="*/ 5432046 h 6861175"/>
              <a:gd name="connsiteX80" fmla="*/ 85427 w 3164816"/>
              <a:gd name="connsiteY80" fmla="*/ 5421886 h 6861175"/>
              <a:gd name="connsiteX81" fmla="*/ 85427 w 3164816"/>
              <a:gd name="connsiteY81" fmla="*/ 5381248 h 6861175"/>
              <a:gd name="connsiteX82" fmla="*/ 85427 w 3164816"/>
              <a:gd name="connsiteY82" fmla="*/ 5350769 h 6861175"/>
              <a:gd name="connsiteX83" fmla="*/ 82393 w 3164816"/>
              <a:gd name="connsiteY83" fmla="*/ 5310130 h 6861175"/>
              <a:gd name="connsiteX84" fmla="*/ 76325 w 3164816"/>
              <a:gd name="connsiteY84" fmla="*/ 5255945 h 6861175"/>
              <a:gd name="connsiteX85" fmla="*/ 79359 w 3164816"/>
              <a:gd name="connsiteY85" fmla="*/ 5194987 h 6861175"/>
              <a:gd name="connsiteX86" fmla="*/ 79359 w 3164816"/>
              <a:gd name="connsiteY86" fmla="*/ 5184827 h 6861175"/>
              <a:gd name="connsiteX87" fmla="*/ 85427 w 3164816"/>
              <a:gd name="connsiteY87" fmla="*/ 5147575 h 6861175"/>
              <a:gd name="connsiteX88" fmla="*/ 85427 w 3164816"/>
              <a:gd name="connsiteY88" fmla="*/ 5106936 h 6861175"/>
              <a:gd name="connsiteX89" fmla="*/ 85427 w 3164816"/>
              <a:gd name="connsiteY89" fmla="*/ 5100163 h 6861175"/>
              <a:gd name="connsiteX90" fmla="*/ 82393 w 3164816"/>
              <a:gd name="connsiteY90" fmla="*/ 5086617 h 6861175"/>
              <a:gd name="connsiteX91" fmla="*/ 85427 w 3164816"/>
              <a:gd name="connsiteY91" fmla="*/ 5083230 h 6861175"/>
              <a:gd name="connsiteX92" fmla="*/ 97562 w 3164816"/>
              <a:gd name="connsiteY92" fmla="*/ 5045978 h 6861175"/>
              <a:gd name="connsiteX93" fmla="*/ 100596 w 3164816"/>
              <a:gd name="connsiteY93" fmla="*/ 4957927 h 6861175"/>
              <a:gd name="connsiteX94" fmla="*/ 106664 w 3164816"/>
              <a:gd name="connsiteY94" fmla="*/ 4957927 h 6861175"/>
              <a:gd name="connsiteX95" fmla="*/ 106664 w 3164816"/>
              <a:gd name="connsiteY95" fmla="*/ 4954541 h 6861175"/>
              <a:gd name="connsiteX96" fmla="*/ 100596 w 3164816"/>
              <a:gd name="connsiteY96" fmla="*/ 4957927 h 6861175"/>
              <a:gd name="connsiteX97" fmla="*/ 97562 w 3164816"/>
              <a:gd name="connsiteY97" fmla="*/ 4954541 h 6861175"/>
              <a:gd name="connsiteX98" fmla="*/ 100596 w 3164816"/>
              <a:gd name="connsiteY98" fmla="*/ 4873263 h 6861175"/>
              <a:gd name="connsiteX99" fmla="*/ 103630 w 3164816"/>
              <a:gd name="connsiteY99" fmla="*/ 4839398 h 6861175"/>
              <a:gd name="connsiteX100" fmla="*/ 103630 w 3164816"/>
              <a:gd name="connsiteY100" fmla="*/ 4825851 h 6861175"/>
              <a:gd name="connsiteX101" fmla="*/ 103630 w 3164816"/>
              <a:gd name="connsiteY101" fmla="*/ 4795372 h 6861175"/>
              <a:gd name="connsiteX102" fmla="*/ 103630 w 3164816"/>
              <a:gd name="connsiteY102" fmla="*/ 4761507 h 6861175"/>
              <a:gd name="connsiteX103" fmla="*/ 103630 w 3164816"/>
              <a:gd name="connsiteY103" fmla="*/ 4751347 h 6861175"/>
              <a:gd name="connsiteX104" fmla="*/ 82393 w 3164816"/>
              <a:gd name="connsiteY104" fmla="*/ 4741187 h 6861175"/>
              <a:gd name="connsiteX105" fmla="*/ 79359 w 3164816"/>
              <a:gd name="connsiteY105" fmla="*/ 4734414 h 6861175"/>
              <a:gd name="connsiteX106" fmla="*/ 82393 w 3164816"/>
              <a:gd name="connsiteY106" fmla="*/ 4700549 h 6861175"/>
              <a:gd name="connsiteX107" fmla="*/ 76325 w 3164816"/>
              <a:gd name="connsiteY107" fmla="*/ 4690389 h 6861175"/>
              <a:gd name="connsiteX108" fmla="*/ 70257 w 3164816"/>
              <a:gd name="connsiteY108" fmla="*/ 4670070 h 6861175"/>
              <a:gd name="connsiteX109" fmla="*/ 79359 w 3164816"/>
              <a:gd name="connsiteY109" fmla="*/ 4656523 h 6861175"/>
              <a:gd name="connsiteX110" fmla="*/ 76325 w 3164816"/>
              <a:gd name="connsiteY110" fmla="*/ 4642977 h 6861175"/>
              <a:gd name="connsiteX111" fmla="*/ 79359 w 3164816"/>
              <a:gd name="connsiteY111" fmla="*/ 4615885 h 6861175"/>
              <a:gd name="connsiteX112" fmla="*/ 79359 w 3164816"/>
              <a:gd name="connsiteY112" fmla="*/ 4592179 h 6861175"/>
              <a:gd name="connsiteX113" fmla="*/ 79359 w 3164816"/>
              <a:gd name="connsiteY113" fmla="*/ 4548153 h 6861175"/>
              <a:gd name="connsiteX114" fmla="*/ 79359 w 3164816"/>
              <a:gd name="connsiteY114" fmla="*/ 4527834 h 6861175"/>
              <a:gd name="connsiteX115" fmla="*/ 79359 w 3164816"/>
              <a:gd name="connsiteY115" fmla="*/ 4510901 h 6861175"/>
              <a:gd name="connsiteX116" fmla="*/ 79359 w 3164816"/>
              <a:gd name="connsiteY116" fmla="*/ 4500741 h 6861175"/>
              <a:gd name="connsiteX117" fmla="*/ 79359 w 3164816"/>
              <a:gd name="connsiteY117" fmla="*/ 4480422 h 6861175"/>
              <a:gd name="connsiteX118" fmla="*/ 79359 w 3164816"/>
              <a:gd name="connsiteY118" fmla="*/ 4456716 h 6861175"/>
              <a:gd name="connsiteX119" fmla="*/ 76325 w 3164816"/>
              <a:gd name="connsiteY119" fmla="*/ 4436397 h 6861175"/>
              <a:gd name="connsiteX120" fmla="*/ 67223 w 3164816"/>
              <a:gd name="connsiteY120" fmla="*/ 4385598 h 6861175"/>
              <a:gd name="connsiteX121" fmla="*/ 64189 w 3164816"/>
              <a:gd name="connsiteY121" fmla="*/ 4334800 h 6861175"/>
              <a:gd name="connsiteX122" fmla="*/ 64189 w 3164816"/>
              <a:gd name="connsiteY122" fmla="*/ 4307707 h 6861175"/>
              <a:gd name="connsiteX123" fmla="*/ 64189 w 3164816"/>
              <a:gd name="connsiteY123" fmla="*/ 4294161 h 6861175"/>
              <a:gd name="connsiteX124" fmla="*/ 61155 w 3164816"/>
              <a:gd name="connsiteY124" fmla="*/ 4267069 h 6861175"/>
              <a:gd name="connsiteX125" fmla="*/ 61155 w 3164816"/>
              <a:gd name="connsiteY125" fmla="*/ 4243363 h 6861175"/>
              <a:gd name="connsiteX126" fmla="*/ 58122 w 3164816"/>
              <a:gd name="connsiteY126" fmla="*/ 4233203 h 6861175"/>
              <a:gd name="connsiteX127" fmla="*/ 61155 w 3164816"/>
              <a:gd name="connsiteY127" fmla="*/ 4212884 h 6861175"/>
              <a:gd name="connsiteX128" fmla="*/ 64189 w 3164816"/>
              <a:gd name="connsiteY128" fmla="*/ 4206110 h 6861175"/>
              <a:gd name="connsiteX129" fmla="*/ 55088 w 3164816"/>
              <a:gd name="connsiteY129" fmla="*/ 4151925 h 6861175"/>
              <a:gd name="connsiteX130" fmla="*/ 58122 w 3164816"/>
              <a:gd name="connsiteY130" fmla="*/ 4128219 h 6861175"/>
              <a:gd name="connsiteX131" fmla="*/ 61155 w 3164816"/>
              <a:gd name="connsiteY131" fmla="*/ 4080808 h 6861175"/>
              <a:gd name="connsiteX132" fmla="*/ 52054 w 3164816"/>
              <a:gd name="connsiteY132" fmla="*/ 4053715 h 6861175"/>
              <a:gd name="connsiteX133" fmla="*/ 52054 w 3164816"/>
              <a:gd name="connsiteY133" fmla="*/ 4023236 h 6861175"/>
              <a:gd name="connsiteX134" fmla="*/ 61155 w 3164816"/>
              <a:gd name="connsiteY134" fmla="*/ 3982597 h 6861175"/>
              <a:gd name="connsiteX135" fmla="*/ 61155 w 3164816"/>
              <a:gd name="connsiteY135" fmla="*/ 3962278 h 6861175"/>
              <a:gd name="connsiteX136" fmla="*/ 58122 w 3164816"/>
              <a:gd name="connsiteY136" fmla="*/ 3955505 h 6861175"/>
              <a:gd name="connsiteX137" fmla="*/ 70257 w 3164816"/>
              <a:gd name="connsiteY137" fmla="*/ 3928412 h 6861175"/>
              <a:gd name="connsiteX138" fmla="*/ 58122 w 3164816"/>
              <a:gd name="connsiteY138" fmla="*/ 3928412 h 6861175"/>
              <a:gd name="connsiteX139" fmla="*/ 55088 w 3164816"/>
              <a:gd name="connsiteY139" fmla="*/ 3908093 h 6861175"/>
              <a:gd name="connsiteX140" fmla="*/ 58122 w 3164816"/>
              <a:gd name="connsiteY140" fmla="*/ 3877614 h 6861175"/>
              <a:gd name="connsiteX141" fmla="*/ 55088 w 3164816"/>
              <a:gd name="connsiteY141" fmla="*/ 3843748 h 6861175"/>
              <a:gd name="connsiteX142" fmla="*/ 55088 w 3164816"/>
              <a:gd name="connsiteY142" fmla="*/ 3840362 h 6861175"/>
              <a:gd name="connsiteX143" fmla="*/ 58122 w 3164816"/>
              <a:gd name="connsiteY143" fmla="*/ 3820042 h 6861175"/>
              <a:gd name="connsiteX144" fmla="*/ 61155 w 3164816"/>
              <a:gd name="connsiteY144" fmla="*/ 3796336 h 6861175"/>
              <a:gd name="connsiteX145" fmla="*/ 64189 w 3164816"/>
              <a:gd name="connsiteY145" fmla="*/ 3742151 h 6861175"/>
              <a:gd name="connsiteX146" fmla="*/ 61155 w 3164816"/>
              <a:gd name="connsiteY146" fmla="*/ 3711672 h 6861175"/>
              <a:gd name="connsiteX147" fmla="*/ 61155 w 3164816"/>
              <a:gd name="connsiteY147" fmla="*/ 3694739 h 6861175"/>
              <a:gd name="connsiteX148" fmla="*/ 61155 w 3164816"/>
              <a:gd name="connsiteY148" fmla="*/ 3677807 h 6861175"/>
              <a:gd name="connsiteX149" fmla="*/ 61155 w 3164816"/>
              <a:gd name="connsiteY149" fmla="*/ 3627008 h 6861175"/>
              <a:gd name="connsiteX150" fmla="*/ 61155 w 3164816"/>
              <a:gd name="connsiteY150" fmla="*/ 3603302 h 6861175"/>
              <a:gd name="connsiteX151" fmla="*/ 64189 w 3164816"/>
              <a:gd name="connsiteY151" fmla="*/ 3555890 h 6861175"/>
              <a:gd name="connsiteX152" fmla="*/ 61155 w 3164816"/>
              <a:gd name="connsiteY152" fmla="*/ 3491546 h 6861175"/>
              <a:gd name="connsiteX153" fmla="*/ 61155 w 3164816"/>
              <a:gd name="connsiteY153" fmla="*/ 3467840 h 6861175"/>
              <a:gd name="connsiteX154" fmla="*/ 58122 w 3164816"/>
              <a:gd name="connsiteY154" fmla="*/ 3457680 h 6861175"/>
              <a:gd name="connsiteX155" fmla="*/ 52054 w 3164816"/>
              <a:gd name="connsiteY155" fmla="*/ 3413655 h 6861175"/>
              <a:gd name="connsiteX156" fmla="*/ 49020 w 3164816"/>
              <a:gd name="connsiteY156" fmla="*/ 3389949 h 6861175"/>
              <a:gd name="connsiteX157" fmla="*/ 49020 w 3164816"/>
              <a:gd name="connsiteY157" fmla="*/ 3362856 h 6861175"/>
              <a:gd name="connsiteX158" fmla="*/ 45986 w 3164816"/>
              <a:gd name="connsiteY158" fmla="*/ 3335764 h 6861175"/>
              <a:gd name="connsiteX159" fmla="*/ 39918 w 3164816"/>
              <a:gd name="connsiteY159" fmla="*/ 3325604 h 6861175"/>
              <a:gd name="connsiteX160" fmla="*/ 36884 w 3164816"/>
              <a:gd name="connsiteY160" fmla="*/ 3305285 h 6861175"/>
              <a:gd name="connsiteX161" fmla="*/ 33850 w 3164816"/>
              <a:gd name="connsiteY161" fmla="*/ 3288352 h 6861175"/>
              <a:gd name="connsiteX162" fmla="*/ 33850 w 3164816"/>
              <a:gd name="connsiteY162" fmla="*/ 3274806 h 6861175"/>
              <a:gd name="connsiteX163" fmla="*/ 33850 w 3164816"/>
              <a:gd name="connsiteY163" fmla="*/ 3264646 h 6861175"/>
              <a:gd name="connsiteX164" fmla="*/ 30817 w 3164816"/>
              <a:gd name="connsiteY164" fmla="*/ 3251100 h 6861175"/>
              <a:gd name="connsiteX165" fmla="*/ 24749 w 3164816"/>
              <a:gd name="connsiteY165" fmla="*/ 3224008 h 6861175"/>
              <a:gd name="connsiteX166" fmla="*/ 30817 w 3164816"/>
              <a:gd name="connsiteY166" fmla="*/ 3179982 h 6861175"/>
              <a:gd name="connsiteX167" fmla="*/ 30817 w 3164816"/>
              <a:gd name="connsiteY167" fmla="*/ 3149503 h 6861175"/>
              <a:gd name="connsiteX168" fmla="*/ 33850 w 3164816"/>
              <a:gd name="connsiteY168" fmla="*/ 3135957 h 6861175"/>
              <a:gd name="connsiteX169" fmla="*/ 39918 w 3164816"/>
              <a:gd name="connsiteY169" fmla="*/ 3112251 h 6861175"/>
              <a:gd name="connsiteX170" fmla="*/ 39918 w 3164816"/>
              <a:gd name="connsiteY170" fmla="*/ 3074999 h 6861175"/>
              <a:gd name="connsiteX171" fmla="*/ 42952 w 3164816"/>
              <a:gd name="connsiteY171" fmla="*/ 3054679 h 6861175"/>
              <a:gd name="connsiteX172" fmla="*/ 42952 w 3164816"/>
              <a:gd name="connsiteY172" fmla="*/ 3044520 h 6861175"/>
              <a:gd name="connsiteX173" fmla="*/ 33850 w 3164816"/>
              <a:gd name="connsiteY173" fmla="*/ 3044520 h 6861175"/>
              <a:gd name="connsiteX174" fmla="*/ 30817 w 3164816"/>
              <a:gd name="connsiteY174" fmla="*/ 3030973 h 6861175"/>
              <a:gd name="connsiteX175" fmla="*/ 39918 w 3164816"/>
              <a:gd name="connsiteY175" fmla="*/ 3020814 h 6861175"/>
              <a:gd name="connsiteX176" fmla="*/ 33850 w 3164816"/>
              <a:gd name="connsiteY176" fmla="*/ 2997108 h 6861175"/>
              <a:gd name="connsiteX177" fmla="*/ 21715 w 3164816"/>
              <a:gd name="connsiteY177" fmla="*/ 2959855 h 6861175"/>
              <a:gd name="connsiteX178" fmla="*/ 18681 w 3164816"/>
              <a:gd name="connsiteY178" fmla="*/ 2939536 h 6861175"/>
              <a:gd name="connsiteX179" fmla="*/ 15647 w 3164816"/>
              <a:gd name="connsiteY179" fmla="*/ 2905670 h 6861175"/>
              <a:gd name="connsiteX180" fmla="*/ 9579 w 3164816"/>
              <a:gd name="connsiteY180" fmla="*/ 2875191 h 6861175"/>
              <a:gd name="connsiteX181" fmla="*/ 12613 w 3164816"/>
              <a:gd name="connsiteY181" fmla="*/ 2851486 h 6861175"/>
              <a:gd name="connsiteX182" fmla="*/ 12613 w 3164816"/>
              <a:gd name="connsiteY182" fmla="*/ 2824393 h 6861175"/>
              <a:gd name="connsiteX183" fmla="*/ 9579 w 3164816"/>
              <a:gd name="connsiteY183" fmla="*/ 2793914 h 6861175"/>
              <a:gd name="connsiteX184" fmla="*/ 9579 w 3164816"/>
              <a:gd name="connsiteY184" fmla="*/ 2770208 h 6861175"/>
              <a:gd name="connsiteX185" fmla="*/ 15647 w 3164816"/>
              <a:gd name="connsiteY185" fmla="*/ 2699090 h 6861175"/>
              <a:gd name="connsiteX186" fmla="*/ 30817 w 3164816"/>
              <a:gd name="connsiteY186" fmla="*/ 2648292 h 6861175"/>
              <a:gd name="connsiteX187" fmla="*/ 36884 w 3164816"/>
              <a:gd name="connsiteY187" fmla="*/ 2624586 h 6861175"/>
              <a:gd name="connsiteX188" fmla="*/ 36884 w 3164816"/>
              <a:gd name="connsiteY188" fmla="*/ 2594107 h 6861175"/>
              <a:gd name="connsiteX189" fmla="*/ 36884 w 3164816"/>
              <a:gd name="connsiteY189" fmla="*/ 2590720 h 6861175"/>
              <a:gd name="connsiteX190" fmla="*/ 33850 w 3164816"/>
              <a:gd name="connsiteY190" fmla="*/ 2577174 h 6861175"/>
              <a:gd name="connsiteX191" fmla="*/ 30817 w 3164816"/>
              <a:gd name="connsiteY191" fmla="*/ 2539922 h 6861175"/>
              <a:gd name="connsiteX192" fmla="*/ 30817 w 3164816"/>
              <a:gd name="connsiteY192" fmla="*/ 2512830 h 6861175"/>
              <a:gd name="connsiteX193" fmla="*/ 30817 w 3164816"/>
              <a:gd name="connsiteY193" fmla="*/ 2475577 h 6861175"/>
              <a:gd name="connsiteX194" fmla="*/ 30817 w 3164816"/>
              <a:gd name="connsiteY194" fmla="*/ 2441711 h 6861175"/>
              <a:gd name="connsiteX195" fmla="*/ 30817 w 3164816"/>
              <a:gd name="connsiteY195" fmla="*/ 2418006 h 6861175"/>
              <a:gd name="connsiteX196" fmla="*/ 30817 w 3164816"/>
              <a:gd name="connsiteY196" fmla="*/ 2407846 h 6861175"/>
              <a:gd name="connsiteX197" fmla="*/ 27783 w 3164816"/>
              <a:gd name="connsiteY197" fmla="*/ 2390913 h 6861175"/>
              <a:gd name="connsiteX198" fmla="*/ 45986 w 3164816"/>
              <a:gd name="connsiteY198" fmla="*/ 2309636 h 6861175"/>
              <a:gd name="connsiteX199" fmla="*/ 39918 w 3164816"/>
              <a:gd name="connsiteY199" fmla="*/ 2299476 h 6861175"/>
              <a:gd name="connsiteX200" fmla="*/ 42952 w 3164816"/>
              <a:gd name="connsiteY200" fmla="*/ 2275770 h 6861175"/>
              <a:gd name="connsiteX201" fmla="*/ 49020 w 3164816"/>
              <a:gd name="connsiteY201" fmla="*/ 2255451 h 6861175"/>
              <a:gd name="connsiteX202" fmla="*/ 58122 w 3164816"/>
              <a:gd name="connsiteY202" fmla="*/ 2235131 h 6861175"/>
              <a:gd name="connsiteX203" fmla="*/ 39918 w 3164816"/>
              <a:gd name="connsiteY203" fmla="*/ 2211425 h 6861175"/>
              <a:gd name="connsiteX204" fmla="*/ 39918 w 3164816"/>
              <a:gd name="connsiteY204" fmla="*/ 2160627 h 6861175"/>
              <a:gd name="connsiteX205" fmla="*/ 33850 w 3164816"/>
              <a:gd name="connsiteY205" fmla="*/ 2140308 h 6861175"/>
              <a:gd name="connsiteX206" fmla="*/ 30817 w 3164816"/>
              <a:gd name="connsiteY206" fmla="*/ 2140308 h 6861175"/>
              <a:gd name="connsiteX207" fmla="*/ 24749 w 3164816"/>
              <a:gd name="connsiteY207" fmla="*/ 2140308 h 6861175"/>
              <a:gd name="connsiteX208" fmla="*/ 27783 w 3164816"/>
              <a:gd name="connsiteY208" fmla="*/ 2130148 h 6861175"/>
              <a:gd name="connsiteX209" fmla="*/ 30817 w 3164816"/>
              <a:gd name="connsiteY209" fmla="*/ 2119988 h 6861175"/>
              <a:gd name="connsiteX210" fmla="*/ 18681 w 3164816"/>
              <a:gd name="connsiteY210" fmla="*/ 2116601 h 6861175"/>
              <a:gd name="connsiteX211" fmla="*/ 9579 w 3164816"/>
              <a:gd name="connsiteY211" fmla="*/ 2075963 h 6861175"/>
              <a:gd name="connsiteX212" fmla="*/ 12613 w 3164816"/>
              <a:gd name="connsiteY212" fmla="*/ 2048870 h 6861175"/>
              <a:gd name="connsiteX213" fmla="*/ 15647 w 3164816"/>
              <a:gd name="connsiteY213" fmla="*/ 2031937 h 6861175"/>
              <a:gd name="connsiteX214" fmla="*/ 12613 w 3164816"/>
              <a:gd name="connsiteY214" fmla="*/ 2018391 h 6861175"/>
              <a:gd name="connsiteX215" fmla="*/ 18681 w 3164816"/>
              <a:gd name="connsiteY215" fmla="*/ 2008232 h 6861175"/>
              <a:gd name="connsiteX216" fmla="*/ 15647 w 3164816"/>
              <a:gd name="connsiteY216" fmla="*/ 1998072 h 6861175"/>
              <a:gd name="connsiteX217" fmla="*/ 15647 w 3164816"/>
              <a:gd name="connsiteY217" fmla="*/ 1943887 h 6861175"/>
              <a:gd name="connsiteX218" fmla="*/ 18681 w 3164816"/>
              <a:gd name="connsiteY218" fmla="*/ 1916794 h 6861175"/>
              <a:gd name="connsiteX219" fmla="*/ 12613 w 3164816"/>
              <a:gd name="connsiteY219" fmla="*/ 1889702 h 6861175"/>
              <a:gd name="connsiteX220" fmla="*/ 12613 w 3164816"/>
              <a:gd name="connsiteY220" fmla="*/ 1886315 h 6861175"/>
              <a:gd name="connsiteX221" fmla="*/ 21715 w 3164816"/>
              <a:gd name="connsiteY221" fmla="*/ 1876156 h 6861175"/>
              <a:gd name="connsiteX222" fmla="*/ 21715 w 3164816"/>
              <a:gd name="connsiteY222" fmla="*/ 1869383 h 6861175"/>
              <a:gd name="connsiteX223" fmla="*/ 12613 w 3164816"/>
              <a:gd name="connsiteY223" fmla="*/ 1869383 h 6861175"/>
              <a:gd name="connsiteX224" fmla="*/ 12613 w 3164816"/>
              <a:gd name="connsiteY224" fmla="*/ 1828744 h 6861175"/>
              <a:gd name="connsiteX225" fmla="*/ 12613 w 3164816"/>
              <a:gd name="connsiteY225" fmla="*/ 1805038 h 6861175"/>
              <a:gd name="connsiteX226" fmla="*/ 12613 w 3164816"/>
              <a:gd name="connsiteY226" fmla="*/ 1801651 h 6861175"/>
              <a:gd name="connsiteX227" fmla="*/ 15647 w 3164816"/>
              <a:gd name="connsiteY227" fmla="*/ 1788105 h 6861175"/>
              <a:gd name="connsiteX228" fmla="*/ 18681 w 3164816"/>
              <a:gd name="connsiteY228" fmla="*/ 1764399 h 6861175"/>
              <a:gd name="connsiteX229" fmla="*/ 18681 w 3164816"/>
              <a:gd name="connsiteY229" fmla="*/ 1747466 h 6861175"/>
              <a:gd name="connsiteX230" fmla="*/ 18681 w 3164816"/>
              <a:gd name="connsiteY230" fmla="*/ 1730533 h 6861175"/>
              <a:gd name="connsiteX231" fmla="*/ 15647 w 3164816"/>
              <a:gd name="connsiteY231" fmla="*/ 1706828 h 6861175"/>
              <a:gd name="connsiteX232" fmla="*/ 15647 w 3164816"/>
              <a:gd name="connsiteY232" fmla="*/ 1689895 h 6861175"/>
              <a:gd name="connsiteX233" fmla="*/ 478 w 3164816"/>
              <a:gd name="connsiteY233" fmla="*/ 1659416 h 6861175"/>
              <a:gd name="connsiteX234" fmla="*/ 6545 w 3164816"/>
              <a:gd name="connsiteY234" fmla="*/ 1649256 h 6861175"/>
              <a:gd name="connsiteX235" fmla="*/ 12613 w 3164816"/>
              <a:gd name="connsiteY235" fmla="*/ 1632323 h 6861175"/>
              <a:gd name="connsiteX236" fmla="*/ 15647 w 3164816"/>
              <a:gd name="connsiteY236" fmla="*/ 1622163 h 6861175"/>
              <a:gd name="connsiteX237" fmla="*/ 18681 w 3164816"/>
              <a:gd name="connsiteY237" fmla="*/ 1612004 h 6861175"/>
              <a:gd name="connsiteX238" fmla="*/ 9579 w 3164816"/>
              <a:gd name="connsiteY238" fmla="*/ 1605231 h 6861175"/>
              <a:gd name="connsiteX239" fmla="*/ 15647 w 3164816"/>
              <a:gd name="connsiteY239" fmla="*/ 1588298 h 6861175"/>
              <a:gd name="connsiteX240" fmla="*/ 18681 w 3164816"/>
              <a:gd name="connsiteY240" fmla="*/ 1574751 h 6861175"/>
              <a:gd name="connsiteX241" fmla="*/ 18681 w 3164816"/>
              <a:gd name="connsiteY241" fmla="*/ 1544273 h 6861175"/>
              <a:gd name="connsiteX242" fmla="*/ 21715 w 3164816"/>
              <a:gd name="connsiteY242" fmla="*/ 1520567 h 6861175"/>
              <a:gd name="connsiteX243" fmla="*/ 24749 w 3164816"/>
              <a:gd name="connsiteY243" fmla="*/ 1462995 h 6861175"/>
              <a:gd name="connsiteX244" fmla="*/ 30817 w 3164816"/>
              <a:gd name="connsiteY244" fmla="*/ 1452835 h 6861175"/>
              <a:gd name="connsiteX245" fmla="*/ 42952 w 3164816"/>
              <a:gd name="connsiteY245" fmla="*/ 1402037 h 6861175"/>
              <a:gd name="connsiteX246" fmla="*/ 39918 w 3164816"/>
              <a:gd name="connsiteY246" fmla="*/ 1385104 h 6861175"/>
              <a:gd name="connsiteX247" fmla="*/ 42952 w 3164816"/>
              <a:gd name="connsiteY247" fmla="*/ 1364785 h 6861175"/>
              <a:gd name="connsiteX248" fmla="*/ 61155 w 3164816"/>
              <a:gd name="connsiteY248" fmla="*/ 1327533 h 6861175"/>
              <a:gd name="connsiteX249" fmla="*/ 73291 w 3164816"/>
              <a:gd name="connsiteY249" fmla="*/ 1300440 h 6861175"/>
              <a:gd name="connsiteX250" fmla="*/ 73291 w 3164816"/>
              <a:gd name="connsiteY250" fmla="*/ 1290280 h 6861175"/>
              <a:gd name="connsiteX251" fmla="*/ 100596 w 3164816"/>
              <a:gd name="connsiteY251" fmla="*/ 1222549 h 6861175"/>
              <a:gd name="connsiteX252" fmla="*/ 91494 w 3164816"/>
              <a:gd name="connsiteY252" fmla="*/ 1215776 h 6861175"/>
              <a:gd name="connsiteX253" fmla="*/ 82393 w 3164816"/>
              <a:gd name="connsiteY253" fmla="*/ 1202230 h 6861175"/>
              <a:gd name="connsiteX254" fmla="*/ 82393 w 3164816"/>
              <a:gd name="connsiteY254" fmla="*/ 1195457 h 6861175"/>
              <a:gd name="connsiteX255" fmla="*/ 70257 w 3164816"/>
              <a:gd name="connsiteY255" fmla="*/ 1195457 h 6861175"/>
              <a:gd name="connsiteX256" fmla="*/ 73291 w 3164816"/>
              <a:gd name="connsiteY256" fmla="*/ 1178524 h 6861175"/>
              <a:gd name="connsiteX257" fmla="*/ 70257 w 3164816"/>
              <a:gd name="connsiteY257" fmla="*/ 1137885 h 6861175"/>
              <a:gd name="connsiteX258" fmla="*/ 70257 w 3164816"/>
              <a:gd name="connsiteY258" fmla="*/ 1100633 h 6861175"/>
              <a:gd name="connsiteX259" fmla="*/ 67223 w 3164816"/>
              <a:gd name="connsiteY259" fmla="*/ 1053221 h 6861175"/>
              <a:gd name="connsiteX260" fmla="*/ 70257 w 3164816"/>
              <a:gd name="connsiteY260" fmla="*/ 978717 h 6861175"/>
              <a:gd name="connsiteX261" fmla="*/ 70257 w 3164816"/>
              <a:gd name="connsiteY261" fmla="*/ 944851 h 6861175"/>
              <a:gd name="connsiteX262" fmla="*/ 70257 w 3164816"/>
              <a:gd name="connsiteY262" fmla="*/ 917759 h 6861175"/>
              <a:gd name="connsiteX263" fmla="*/ 73291 w 3164816"/>
              <a:gd name="connsiteY263" fmla="*/ 900826 h 6861175"/>
              <a:gd name="connsiteX264" fmla="*/ 70257 w 3164816"/>
              <a:gd name="connsiteY264" fmla="*/ 877120 h 6861175"/>
              <a:gd name="connsiteX265" fmla="*/ 82393 w 3164816"/>
              <a:gd name="connsiteY265" fmla="*/ 833094 h 6861175"/>
              <a:gd name="connsiteX266" fmla="*/ 85427 w 3164816"/>
              <a:gd name="connsiteY266" fmla="*/ 785683 h 6861175"/>
              <a:gd name="connsiteX267" fmla="*/ 85427 w 3164816"/>
              <a:gd name="connsiteY267" fmla="*/ 758590 h 6861175"/>
              <a:gd name="connsiteX268" fmla="*/ 88460 w 3164816"/>
              <a:gd name="connsiteY268" fmla="*/ 650220 h 6861175"/>
              <a:gd name="connsiteX269" fmla="*/ 88460 w 3164816"/>
              <a:gd name="connsiteY269" fmla="*/ 599422 h 6861175"/>
              <a:gd name="connsiteX270" fmla="*/ 88460 w 3164816"/>
              <a:gd name="connsiteY270" fmla="*/ 592648 h 6861175"/>
              <a:gd name="connsiteX271" fmla="*/ 88460 w 3164816"/>
              <a:gd name="connsiteY271" fmla="*/ 585875 h 6861175"/>
              <a:gd name="connsiteX272" fmla="*/ 85427 w 3164816"/>
              <a:gd name="connsiteY272" fmla="*/ 572329 h 6861175"/>
              <a:gd name="connsiteX273" fmla="*/ 88460 w 3164816"/>
              <a:gd name="connsiteY273" fmla="*/ 555396 h 6861175"/>
              <a:gd name="connsiteX274" fmla="*/ 91494 w 3164816"/>
              <a:gd name="connsiteY274" fmla="*/ 545237 h 6861175"/>
              <a:gd name="connsiteX275" fmla="*/ 70257 w 3164816"/>
              <a:gd name="connsiteY275" fmla="*/ 535077 h 6861175"/>
              <a:gd name="connsiteX276" fmla="*/ 67223 w 3164816"/>
              <a:gd name="connsiteY276" fmla="*/ 518144 h 6861175"/>
              <a:gd name="connsiteX277" fmla="*/ 70257 w 3164816"/>
              <a:gd name="connsiteY277" fmla="*/ 494438 h 6861175"/>
              <a:gd name="connsiteX278" fmla="*/ 64189 w 3164816"/>
              <a:gd name="connsiteY278" fmla="*/ 480892 h 6861175"/>
              <a:gd name="connsiteX279" fmla="*/ 58122 w 3164816"/>
              <a:gd name="connsiteY279" fmla="*/ 460573 h 6861175"/>
              <a:gd name="connsiteX280" fmla="*/ 67223 w 3164816"/>
              <a:gd name="connsiteY280" fmla="*/ 450413 h 6861175"/>
              <a:gd name="connsiteX281" fmla="*/ 67223 w 3164816"/>
              <a:gd name="connsiteY281" fmla="*/ 419934 h 6861175"/>
              <a:gd name="connsiteX282" fmla="*/ 67223 w 3164816"/>
              <a:gd name="connsiteY282" fmla="*/ 386068 h 6861175"/>
              <a:gd name="connsiteX283" fmla="*/ 70257 w 3164816"/>
              <a:gd name="connsiteY283" fmla="*/ 358976 h 6861175"/>
              <a:gd name="connsiteX284" fmla="*/ 67223 w 3164816"/>
              <a:gd name="connsiteY284" fmla="*/ 338656 h 6861175"/>
              <a:gd name="connsiteX285" fmla="*/ 67223 w 3164816"/>
              <a:gd name="connsiteY285" fmla="*/ 331883 h 6861175"/>
              <a:gd name="connsiteX286" fmla="*/ 70257 w 3164816"/>
              <a:gd name="connsiteY286" fmla="*/ 314950 h 6861175"/>
              <a:gd name="connsiteX287" fmla="*/ 67223 w 3164816"/>
              <a:gd name="connsiteY287" fmla="*/ 294631 h 6861175"/>
              <a:gd name="connsiteX288" fmla="*/ 67223 w 3164816"/>
              <a:gd name="connsiteY288" fmla="*/ 270925 h 6861175"/>
              <a:gd name="connsiteX289" fmla="*/ 67223 w 3164816"/>
              <a:gd name="connsiteY289" fmla="*/ 250606 h 6861175"/>
              <a:gd name="connsiteX290" fmla="*/ 64189 w 3164816"/>
              <a:gd name="connsiteY290" fmla="*/ 233673 h 6861175"/>
              <a:gd name="connsiteX291" fmla="*/ 58122 w 3164816"/>
              <a:gd name="connsiteY291" fmla="*/ 220127 h 6861175"/>
              <a:gd name="connsiteX292" fmla="*/ 55088 w 3164816"/>
              <a:gd name="connsiteY292" fmla="*/ 172715 h 6861175"/>
              <a:gd name="connsiteX293" fmla="*/ 52054 w 3164816"/>
              <a:gd name="connsiteY293" fmla="*/ 128689 h 6861175"/>
              <a:gd name="connsiteX294" fmla="*/ 49020 w 3164816"/>
              <a:gd name="connsiteY294" fmla="*/ 104984 h 6861175"/>
              <a:gd name="connsiteX295" fmla="*/ 49020 w 3164816"/>
              <a:gd name="connsiteY295" fmla="*/ 77891 h 6861175"/>
              <a:gd name="connsiteX296" fmla="*/ 45986 w 3164816"/>
              <a:gd name="connsiteY296" fmla="*/ 57572 h 6861175"/>
              <a:gd name="connsiteX297" fmla="*/ 45986 w 3164816"/>
              <a:gd name="connsiteY297" fmla="*/ 37252 h 6861175"/>
              <a:gd name="connsiteX298" fmla="*/ 45986 w 3164816"/>
              <a:gd name="connsiteY298" fmla="*/ 27093 h 6861175"/>
              <a:gd name="connsiteX299" fmla="*/ 49020 w 3164816"/>
              <a:gd name="connsiteY299" fmla="*/ 3387 h 6861175"/>
              <a:gd name="connsiteX300" fmla="*/ 49020 w 3164816"/>
              <a:gd name="connsiteY300" fmla="*/ 0 h 686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3164816" h="6861175">
                <a:moveTo>
                  <a:pt x="49020" y="0"/>
                </a:moveTo>
                <a:cubicBezTo>
                  <a:pt x="49020" y="0"/>
                  <a:pt x="49020" y="0"/>
                  <a:pt x="543544" y="0"/>
                </a:cubicBezTo>
                <a:cubicBezTo>
                  <a:pt x="543544" y="0"/>
                  <a:pt x="543544" y="0"/>
                  <a:pt x="543544" y="1675"/>
                </a:cubicBezTo>
                <a:lnTo>
                  <a:pt x="543544" y="3174"/>
                </a:lnTo>
                <a:lnTo>
                  <a:pt x="3164816" y="3174"/>
                </a:lnTo>
                <a:lnTo>
                  <a:pt x="3164816" y="6861175"/>
                </a:lnTo>
                <a:lnTo>
                  <a:pt x="543544" y="6861175"/>
                </a:lnTo>
                <a:lnTo>
                  <a:pt x="542578" y="6861175"/>
                </a:lnTo>
                <a:lnTo>
                  <a:pt x="535817" y="6861175"/>
                </a:lnTo>
                <a:lnTo>
                  <a:pt x="517466" y="6861175"/>
                </a:lnTo>
                <a:lnTo>
                  <a:pt x="481729" y="6861175"/>
                </a:lnTo>
                <a:lnTo>
                  <a:pt x="422811" y="6861175"/>
                </a:lnTo>
                <a:lnTo>
                  <a:pt x="382848" y="6861175"/>
                </a:lnTo>
                <a:lnTo>
                  <a:pt x="378484" y="6861175"/>
                </a:lnTo>
                <a:lnTo>
                  <a:pt x="334916" y="6861175"/>
                </a:lnTo>
                <a:cubicBezTo>
                  <a:pt x="265374" y="6861175"/>
                  <a:pt x="172651" y="6861175"/>
                  <a:pt x="49020" y="6861175"/>
                </a:cubicBezTo>
                <a:cubicBezTo>
                  <a:pt x="42952" y="6851016"/>
                  <a:pt x="42952" y="6834083"/>
                  <a:pt x="42952" y="6820537"/>
                </a:cubicBezTo>
                <a:cubicBezTo>
                  <a:pt x="39918" y="6810377"/>
                  <a:pt x="39918" y="6796831"/>
                  <a:pt x="33850" y="6790057"/>
                </a:cubicBezTo>
                <a:cubicBezTo>
                  <a:pt x="30817" y="6783284"/>
                  <a:pt x="30817" y="6776511"/>
                  <a:pt x="30817" y="6773125"/>
                </a:cubicBezTo>
                <a:cubicBezTo>
                  <a:pt x="33850" y="6759578"/>
                  <a:pt x="33850" y="6746032"/>
                  <a:pt x="36884" y="6732486"/>
                </a:cubicBezTo>
                <a:cubicBezTo>
                  <a:pt x="36884" y="6729099"/>
                  <a:pt x="36884" y="6725713"/>
                  <a:pt x="36884" y="6725713"/>
                </a:cubicBezTo>
                <a:cubicBezTo>
                  <a:pt x="36884" y="6712167"/>
                  <a:pt x="33850" y="6702007"/>
                  <a:pt x="33850" y="6691847"/>
                </a:cubicBezTo>
                <a:cubicBezTo>
                  <a:pt x="30817" y="6681687"/>
                  <a:pt x="30817" y="6661368"/>
                  <a:pt x="21715" y="6647822"/>
                </a:cubicBezTo>
                <a:cubicBezTo>
                  <a:pt x="21715" y="6647822"/>
                  <a:pt x="21715" y="6641049"/>
                  <a:pt x="21715" y="6637662"/>
                </a:cubicBezTo>
                <a:cubicBezTo>
                  <a:pt x="21715" y="6630889"/>
                  <a:pt x="24749" y="6627502"/>
                  <a:pt x="30817" y="6624116"/>
                </a:cubicBezTo>
                <a:cubicBezTo>
                  <a:pt x="33850" y="6620729"/>
                  <a:pt x="36884" y="6613956"/>
                  <a:pt x="36884" y="6603797"/>
                </a:cubicBezTo>
                <a:cubicBezTo>
                  <a:pt x="36884" y="6603797"/>
                  <a:pt x="36884" y="6603797"/>
                  <a:pt x="36884" y="6597023"/>
                </a:cubicBezTo>
                <a:cubicBezTo>
                  <a:pt x="39918" y="6583477"/>
                  <a:pt x="39918" y="6569931"/>
                  <a:pt x="36884" y="6556385"/>
                </a:cubicBezTo>
                <a:cubicBezTo>
                  <a:pt x="33850" y="6549612"/>
                  <a:pt x="36884" y="6542838"/>
                  <a:pt x="36884" y="6539452"/>
                </a:cubicBezTo>
                <a:cubicBezTo>
                  <a:pt x="39918" y="6532679"/>
                  <a:pt x="39918" y="6525906"/>
                  <a:pt x="36884" y="6519132"/>
                </a:cubicBezTo>
                <a:cubicBezTo>
                  <a:pt x="33850" y="6512359"/>
                  <a:pt x="36884" y="6498813"/>
                  <a:pt x="30817" y="6495427"/>
                </a:cubicBezTo>
                <a:cubicBezTo>
                  <a:pt x="30817" y="6495427"/>
                  <a:pt x="30817" y="6495427"/>
                  <a:pt x="30817" y="6492040"/>
                </a:cubicBezTo>
                <a:cubicBezTo>
                  <a:pt x="30817" y="6485267"/>
                  <a:pt x="30817" y="6478494"/>
                  <a:pt x="27783" y="6471721"/>
                </a:cubicBezTo>
                <a:cubicBezTo>
                  <a:pt x="24749" y="6461561"/>
                  <a:pt x="24749" y="6451401"/>
                  <a:pt x="24749" y="6441242"/>
                </a:cubicBezTo>
                <a:cubicBezTo>
                  <a:pt x="27783" y="6424309"/>
                  <a:pt x="49020" y="6407376"/>
                  <a:pt x="49020" y="6387057"/>
                </a:cubicBezTo>
                <a:cubicBezTo>
                  <a:pt x="49020" y="6387057"/>
                  <a:pt x="49020" y="6387057"/>
                  <a:pt x="45986" y="6387057"/>
                </a:cubicBezTo>
                <a:cubicBezTo>
                  <a:pt x="39918" y="6387057"/>
                  <a:pt x="36884" y="6383670"/>
                  <a:pt x="42952" y="6373510"/>
                </a:cubicBezTo>
                <a:cubicBezTo>
                  <a:pt x="42952" y="6373510"/>
                  <a:pt x="42952" y="6373510"/>
                  <a:pt x="42952" y="6370124"/>
                </a:cubicBezTo>
                <a:cubicBezTo>
                  <a:pt x="42952" y="6370124"/>
                  <a:pt x="39918" y="6370124"/>
                  <a:pt x="36884" y="6366737"/>
                </a:cubicBezTo>
                <a:cubicBezTo>
                  <a:pt x="36884" y="6363351"/>
                  <a:pt x="39918" y="6359964"/>
                  <a:pt x="39918" y="6359964"/>
                </a:cubicBezTo>
                <a:cubicBezTo>
                  <a:pt x="39918" y="6346418"/>
                  <a:pt x="42952" y="6339645"/>
                  <a:pt x="42952" y="6326098"/>
                </a:cubicBezTo>
                <a:cubicBezTo>
                  <a:pt x="39918" y="6319325"/>
                  <a:pt x="39918" y="6315939"/>
                  <a:pt x="39918" y="6309166"/>
                </a:cubicBezTo>
                <a:cubicBezTo>
                  <a:pt x="45986" y="6305779"/>
                  <a:pt x="49020" y="6302392"/>
                  <a:pt x="55088" y="6299006"/>
                </a:cubicBezTo>
                <a:cubicBezTo>
                  <a:pt x="55088" y="6295619"/>
                  <a:pt x="55088" y="6288846"/>
                  <a:pt x="55088" y="6285460"/>
                </a:cubicBezTo>
                <a:cubicBezTo>
                  <a:pt x="55088" y="6282073"/>
                  <a:pt x="61155" y="6282073"/>
                  <a:pt x="58122" y="6271913"/>
                </a:cubicBezTo>
                <a:cubicBezTo>
                  <a:pt x="55088" y="6271913"/>
                  <a:pt x="49020" y="6271913"/>
                  <a:pt x="45986" y="6271913"/>
                </a:cubicBezTo>
                <a:cubicBezTo>
                  <a:pt x="39918" y="6254981"/>
                  <a:pt x="36884" y="6238048"/>
                  <a:pt x="33850" y="6221115"/>
                </a:cubicBezTo>
                <a:cubicBezTo>
                  <a:pt x="36884" y="6214342"/>
                  <a:pt x="36884" y="6210955"/>
                  <a:pt x="39918" y="6204182"/>
                </a:cubicBezTo>
                <a:cubicBezTo>
                  <a:pt x="36884" y="6197409"/>
                  <a:pt x="36884" y="6187249"/>
                  <a:pt x="33850" y="6183863"/>
                </a:cubicBezTo>
                <a:cubicBezTo>
                  <a:pt x="27783" y="6170317"/>
                  <a:pt x="27783" y="6156770"/>
                  <a:pt x="30817" y="6139838"/>
                </a:cubicBezTo>
                <a:cubicBezTo>
                  <a:pt x="33850" y="6129678"/>
                  <a:pt x="33850" y="6122905"/>
                  <a:pt x="30817" y="6112745"/>
                </a:cubicBezTo>
                <a:cubicBezTo>
                  <a:pt x="30817" y="6102585"/>
                  <a:pt x="30817" y="6095812"/>
                  <a:pt x="30817" y="6089039"/>
                </a:cubicBezTo>
                <a:cubicBezTo>
                  <a:pt x="33850" y="6082266"/>
                  <a:pt x="33850" y="6075493"/>
                  <a:pt x="36884" y="6068720"/>
                </a:cubicBezTo>
                <a:cubicBezTo>
                  <a:pt x="33850" y="6061947"/>
                  <a:pt x="33850" y="6058560"/>
                  <a:pt x="30817" y="6055173"/>
                </a:cubicBezTo>
                <a:cubicBezTo>
                  <a:pt x="27783" y="6045014"/>
                  <a:pt x="24749" y="6038241"/>
                  <a:pt x="24749" y="6024694"/>
                </a:cubicBezTo>
                <a:cubicBezTo>
                  <a:pt x="24749" y="6024694"/>
                  <a:pt x="24749" y="6017921"/>
                  <a:pt x="24749" y="6014535"/>
                </a:cubicBezTo>
                <a:cubicBezTo>
                  <a:pt x="24749" y="6000988"/>
                  <a:pt x="27783" y="5987442"/>
                  <a:pt x="30817" y="5977283"/>
                </a:cubicBezTo>
                <a:cubicBezTo>
                  <a:pt x="33850" y="5973896"/>
                  <a:pt x="36884" y="5970509"/>
                  <a:pt x="36884" y="5960350"/>
                </a:cubicBezTo>
                <a:cubicBezTo>
                  <a:pt x="33850" y="5953577"/>
                  <a:pt x="33850" y="5943417"/>
                  <a:pt x="30817" y="5936644"/>
                </a:cubicBezTo>
                <a:cubicBezTo>
                  <a:pt x="27783" y="5926484"/>
                  <a:pt x="24749" y="5916324"/>
                  <a:pt x="21715" y="5906165"/>
                </a:cubicBezTo>
                <a:cubicBezTo>
                  <a:pt x="18681" y="5902778"/>
                  <a:pt x="15647" y="5899392"/>
                  <a:pt x="18681" y="5896005"/>
                </a:cubicBezTo>
                <a:cubicBezTo>
                  <a:pt x="24749" y="5882459"/>
                  <a:pt x="33850" y="5872299"/>
                  <a:pt x="39918" y="5868913"/>
                </a:cubicBezTo>
                <a:cubicBezTo>
                  <a:pt x="45986" y="5845207"/>
                  <a:pt x="42952" y="5831660"/>
                  <a:pt x="36884" y="5818114"/>
                </a:cubicBezTo>
                <a:cubicBezTo>
                  <a:pt x="39918" y="5807954"/>
                  <a:pt x="39918" y="5801181"/>
                  <a:pt x="42952" y="5791022"/>
                </a:cubicBezTo>
                <a:cubicBezTo>
                  <a:pt x="45986" y="5784248"/>
                  <a:pt x="49020" y="5780862"/>
                  <a:pt x="52054" y="5774089"/>
                </a:cubicBezTo>
                <a:cubicBezTo>
                  <a:pt x="55088" y="5770702"/>
                  <a:pt x="55088" y="5767316"/>
                  <a:pt x="55088" y="5763929"/>
                </a:cubicBezTo>
                <a:cubicBezTo>
                  <a:pt x="58122" y="5750383"/>
                  <a:pt x="61155" y="5736837"/>
                  <a:pt x="61155" y="5723290"/>
                </a:cubicBezTo>
                <a:cubicBezTo>
                  <a:pt x="58122" y="5719904"/>
                  <a:pt x="61155" y="5713131"/>
                  <a:pt x="61155" y="5709744"/>
                </a:cubicBezTo>
                <a:cubicBezTo>
                  <a:pt x="61155" y="5706358"/>
                  <a:pt x="64189" y="5702971"/>
                  <a:pt x="64189" y="5702971"/>
                </a:cubicBezTo>
                <a:cubicBezTo>
                  <a:pt x="70257" y="5692811"/>
                  <a:pt x="61155" y="5686038"/>
                  <a:pt x="64189" y="5669105"/>
                </a:cubicBezTo>
                <a:cubicBezTo>
                  <a:pt x="64189" y="5665719"/>
                  <a:pt x="64189" y="5662332"/>
                  <a:pt x="67223" y="5658946"/>
                </a:cubicBezTo>
                <a:cubicBezTo>
                  <a:pt x="70257" y="5652173"/>
                  <a:pt x="73291" y="5648786"/>
                  <a:pt x="76325" y="5638626"/>
                </a:cubicBezTo>
                <a:cubicBezTo>
                  <a:pt x="76325" y="5635240"/>
                  <a:pt x="76325" y="5625080"/>
                  <a:pt x="79359" y="5621693"/>
                </a:cubicBezTo>
                <a:cubicBezTo>
                  <a:pt x="82393" y="5614920"/>
                  <a:pt x="88460" y="5614920"/>
                  <a:pt x="91494" y="5608147"/>
                </a:cubicBezTo>
                <a:cubicBezTo>
                  <a:pt x="94528" y="5587828"/>
                  <a:pt x="64189" y="5570895"/>
                  <a:pt x="67223" y="5550576"/>
                </a:cubicBezTo>
                <a:cubicBezTo>
                  <a:pt x="67223" y="5547189"/>
                  <a:pt x="67223" y="5543803"/>
                  <a:pt x="70257" y="5543803"/>
                </a:cubicBezTo>
                <a:cubicBezTo>
                  <a:pt x="73291" y="5526870"/>
                  <a:pt x="73291" y="5513323"/>
                  <a:pt x="76325" y="5496391"/>
                </a:cubicBezTo>
                <a:cubicBezTo>
                  <a:pt x="76325" y="5493004"/>
                  <a:pt x="73291" y="5489618"/>
                  <a:pt x="70257" y="5486231"/>
                </a:cubicBezTo>
                <a:cubicBezTo>
                  <a:pt x="70257" y="5482844"/>
                  <a:pt x="73291" y="5479458"/>
                  <a:pt x="73291" y="5479458"/>
                </a:cubicBezTo>
                <a:cubicBezTo>
                  <a:pt x="76325" y="5462525"/>
                  <a:pt x="79359" y="5445592"/>
                  <a:pt x="85427" y="5432046"/>
                </a:cubicBezTo>
                <a:cubicBezTo>
                  <a:pt x="85427" y="5428659"/>
                  <a:pt x="85427" y="5425273"/>
                  <a:pt x="85427" y="5421886"/>
                </a:cubicBezTo>
                <a:cubicBezTo>
                  <a:pt x="79359" y="5408340"/>
                  <a:pt x="82393" y="5391407"/>
                  <a:pt x="85427" y="5381248"/>
                </a:cubicBezTo>
                <a:cubicBezTo>
                  <a:pt x="85427" y="5367701"/>
                  <a:pt x="85427" y="5357542"/>
                  <a:pt x="85427" y="5350769"/>
                </a:cubicBezTo>
                <a:cubicBezTo>
                  <a:pt x="82393" y="5337222"/>
                  <a:pt x="79359" y="5323676"/>
                  <a:pt x="82393" y="5310130"/>
                </a:cubicBezTo>
                <a:cubicBezTo>
                  <a:pt x="82393" y="5289810"/>
                  <a:pt x="79359" y="5272878"/>
                  <a:pt x="76325" y="5255945"/>
                </a:cubicBezTo>
                <a:cubicBezTo>
                  <a:pt x="73291" y="5235625"/>
                  <a:pt x="73291" y="5215306"/>
                  <a:pt x="79359" y="5194987"/>
                </a:cubicBezTo>
                <a:cubicBezTo>
                  <a:pt x="79359" y="5194987"/>
                  <a:pt x="79359" y="5188214"/>
                  <a:pt x="79359" y="5184827"/>
                </a:cubicBezTo>
                <a:cubicBezTo>
                  <a:pt x="85427" y="5174667"/>
                  <a:pt x="85427" y="5157734"/>
                  <a:pt x="85427" y="5147575"/>
                </a:cubicBezTo>
                <a:cubicBezTo>
                  <a:pt x="82393" y="5134029"/>
                  <a:pt x="82393" y="5123869"/>
                  <a:pt x="85427" y="5106936"/>
                </a:cubicBezTo>
                <a:cubicBezTo>
                  <a:pt x="88460" y="5106936"/>
                  <a:pt x="85427" y="5103549"/>
                  <a:pt x="85427" y="5100163"/>
                </a:cubicBezTo>
                <a:cubicBezTo>
                  <a:pt x="85427" y="5096776"/>
                  <a:pt x="85427" y="5093390"/>
                  <a:pt x="82393" y="5086617"/>
                </a:cubicBezTo>
                <a:cubicBezTo>
                  <a:pt x="85427" y="5086617"/>
                  <a:pt x="85427" y="5083230"/>
                  <a:pt x="85427" y="5083230"/>
                </a:cubicBezTo>
                <a:cubicBezTo>
                  <a:pt x="91494" y="5073070"/>
                  <a:pt x="97562" y="5062911"/>
                  <a:pt x="97562" y="5045978"/>
                </a:cubicBezTo>
                <a:cubicBezTo>
                  <a:pt x="97562" y="5015499"/>
                  <a:pt x="97562" y="4988406"/>
                  <a:pt x="100596" y="4957927"/>
                </a:cubicBezTo>
                <a:cubicBezTo>
                  <a:pt x="100596" y="4957927"/>
                  <a:pt x="100596" y="4957927"/>
                  <a:pt x="106664" y="4957927"/>
                </a:cubicBezTo>
                <a:cubicBezTo>
                  <a:pt x="106664" y="4957927"/>
                  <a:pt x="106664" y="4957927"/>
                  <a:pt x="106664" y="4954541"/>
                </a:cubicBezTo>
                <a:cubicBezTo>
                  <a:pt x="100596" y="4954541"/>
                  <a:pt x="100596" y="4957927"/>
                  <a:pt x="100596" y="4957927"/>
                </a:cubicBezTo>
                <a:cubicBezTo>
                  <a:pt x="100596" y="4954541"/>
                  <a:pt x="97562" y="4954541"/>
                  <a:pt x="97562" y="4954541"/>
                </a:cubicBezTo>
                <a:cubicBezTo>
                  <a:pt x="97562" y="4927448"/>
                  <a:pt x="94528" y="4900356"/>
                  <a:pt x="100596" y="4873263"/>
                </a:cubicBezTo>
                <a:cubicBezTo>
                  <a:pt x="100596" y="4859717"/>
                  <a:pt x="103630" y="4849557"/>
                  <a:pt x="103630" y="4839398"/>
                </a:cubicBezTo>
                <a:cubicBezTo>
                  <a:pt x="103630" y="4836011"/>
                  <a:pt x="106664" y="4829238"/>
                  <a:pt x="103630" y="4825851"/>
                </a:cubicBezTo>
                <a:cubicBezTo>
                  <a:pt x="103630" y="4815692"/>
                  <a:pt x="100596" y="4805532"/>
                  <a:pt x="103630" y="4795372"/>
                </a:cubicBezTo>
                <a:cubicBezTo>
                  <a:pt x="97562" y="4785213"/>
                  <a:pt x="100596" y="4771666"/>
                  <a:pt x="103630" y="4761507"/>
                </a:cubicBezTo>
                <a:cubicBezTo>
                  <a:pt x="103630" y="4758120"/>
                  <a:pt x="103630" y="4758120"/>
                  <a:pt x="103630" y="4751347"/>
                </a:cubicBezTo>
                <a:cubicBezTo>
                  <a:pt x="97562" y="4747960"/>
                  <a:pt x="88460" y="4744574"/>
                  <a:pt x="82393" y="4741187"/>
                </a:cubicBezTo>
                <a:cubicBezTo>
                  <a:pt x="82393" y="4741187"/>
                  <a:pt x="79359" y="4737801"/>
                  <a:pt x="79359" y="4734414"/>
                </a:cubicBezTo>
                <a:cubicBezTo>
                  <a:pt x="82393" y="4724255"/>
                  <a:pt x="82393" y="4714095"/>
                  <a:pt x="82393" y="4700549"/>
                </a:cubicBezTo>
                <a:cubicBezTo>
                  <a:pt x="79359" y="4697162"/>
                  <a:pt x="76325" y="4697162"/>
                  <a:pt x="76325" y="4690389"/>
                </a:cubicBezTo>
                <a:cubicBezTo>
                  <a:pt x="76325" y="4683616"/>
                  <a:pt x="70257" y="4676843"/>
                  <a:pt x="70257" y="4670070"/>
                </a:cubicBezTo>
                <a:cubicBezTo>
                  <a:pt x="73291" y="4666683"/>
                  <a:pt x="76325" y="4659910"/>
                  <a:pt x="79359" y="4656523"/>
                </a:cubicBezTo>
                <a:cubicBezTo>
                  <a:pt x="79359" y="4649750"/>
                  <a:pt x="76325" y="4649750"/>
                  <a:pt x="76325" y="4642977"/>
                </a:cubicBezTo>
                <a:cubicBezTo>
                  <a:pt x="76325" y="4636204"/>
                  <a:pt x="79359" y="4626044"/>
                  <a:pt x="79359" y="4615885"/>
                </a:cubicBezTo>
                <a:cubicBezTo>
                  <a:pt x="82393" y="4609111"/>
                  <a:pt x="76325" y="4602338"/>
                  <a:pt x="79359" y="4592179"/>
                </a:cubicBezTo>
                <a:cubicBezTo>
                  <a:pt x="82393" y="4578632"/>
                  <a:pt x="82393" y="4561700"/>
                  <a:pt x="79359" y="4548153"/>
                </a:cubicBezTo>
                <a:cubicBezTo>
                  <a:pt x="79359" y="4541380"/>
                  <a:pt x="76325" y="4534607"/>
                  <a:pt x="79359" y="4527834"/>
                </a:cubicBezTo>
                <a:cubicBezTo>
                  <a:pt x="85427" y="4524447"/>
                  <a:pt x="82393" y="4517674"/>
                  <a:pt x="79359" y="4510901"/>
                </a:cubicBezTo>
                <a:cubicBezTo>
                  <a:pt x="79359" y="4507515"/>
                  <a:pt x="79359" y="4504128"/>
                  <a:pt x="79359" y="4500741"/>
                </a:cubicBezTo>
                <a:cubicBezTo>
                  <a:pt x="79359" y="4493968"/>
                  <a:pt x="79359" y="4483809"/>
                  <a:pt x="79359" y="4480422"/>
                </a:cubicBezTo>
                <a:cubicBezTo>
                  <a:pt x="76325" y="4470262"/>
                  <a:pt x="76325" y="4463489"/>
                  <a:pt x="79359" y="4456716"/>
                </a:cubicBezTo>
                <a:cubicBezTo>
                  <a:pt x="82393" y="4449943"/>
                  <a:pt x="79359" y="4443170"/>
                  <a:pt x="76325" y="4436397"/>
                </a:cubicBezTo>
                <a:cubicBezTo>
                  <a:pt x="67223" y="4422850"/>
                  <a:pt x="64189" y="4405918"/>
                  <a:pt x="67223" y="4385598"/>
                </a:cubicBezTo>
                <a:cubicBezTo>
                  <a:pt x="67223" y="4365279"/>
                  <a:pt x="70257" y="4348346"/>
                  <a:pt x="64189" y="4334800"/>
                </a:cubicBezTo>
                <a:cubicBezTo>
                  <a:pt x="64189" y="4324640"/>
                  <a:pt x="64189" y="4314480"/>
                  <a:pt x="64189" y="4307707"/>
                </a:cubicBezTo>
                <a:cubicBezTo>
                  <a:pt x="64189" y="4304321"/>
                  <a:pt x="64189" y="4294161"/>
                  <a:pt x="64189" y="4294161"/>
                </a:cubicBezTo>
                <a:cubicBezTo>
                  <a:pt x="61155" y="4287388"/>
                  <a:pt x="64189" y="4273842"/>
                  <a:pt x="61155" y="4267069"/>
                </a:cubicBezTo>
                <a:cubicBezTo>
                  <a:pt x="55088" y="4260295"/>
                  <a:pt x="61155" y="4250136"/>
                  <a:pt x="61155" y="4243363"/>
                </a:cubicBezTo>
                <a:cubicBezTo>
                  <a:pt x="61155" y="4239976"/>
                  <a:pt x="58122" y="4236590"/>
                  <a:pt x="58122" y="4233203"/>
                </a:cubicBezTo>
                <a:cubicBezTo>
                  <a:pt x="58122" y="4223043"/>
                  <a:pt x="58122" y="4219657"/>
                  <a:pt x="61155" y="4212884"/>
                </a:cubicBezTo>
                <a:cubicBezTo>
                  <a:pt x="61155" y="4209497"/>
                  <a:pt x="61155" y="4206110"/>
                  <a:pt x="64189" y="4206110"/>
                </a:cubicBezTo>
                <a:cubicBezTo>
                  <a:pt x="61155" y="4185791"/>
                  <a:pt x="58122" y="4168858"/>
                  <a:pt x="55088" y="4151925"/>
                </a:cubicBezTo>
                <a:cubicBezTo>
                  <a:pt x="55088" y="4145152"/>
                  <a:pt x="55088" y="4134993"/>
                  <a:pt x="58122" y="4128219"/>
                </a:cubicBezTo>
                <a:cubicBezTo>
                  <a:pt x="61155" y="4111287"/>
                  <a:pt x="61155" y="4097740"/>
                  <a:pt x="61155" y="4080808"/>
                </a:cubicBezTo>
                <a:cubicBezTo>
                  <a:pt x="58122" y="4074034"/>
                  <a:pt x="49020" y="4067261"/>
                  <a:pt x="52054" y="4053715"/>
                </a:cubicBezTo>
                <a:cubicBezTo>
                  <a:pt x="45986" y="4043555"/>
                  <a:pt x="49020" y="4033396"/>
                  <a:pt x="52054" y="4023236"/>
                </a:cubicBezTo>
                <a:cubicBezTo>
                  <a:pt x="55088" y="4009690"/>
                  <a:pt x="58122" y="3996144"/>
                  <a:pt x="61155" y="3982597"/>
                </a:cubicBezTo>
                <a:cubicBezTo>
                  <a:pt x="61155" y="3975824"/>
                  <a:pt x="64189" y="3969051"/>
                  <a:pt x="61155" y="3962278"/>
                </a:cubicBezTo>
                <a:cubicBezTo>
                  <a:pt x="58122" y="3958891"/>
                  <a:pt x="58122" y="3955505"/>
                  <a:pt x="58122" y="3955505"/>
                </a:cubicBezTo>
                <a:cubicBezTo>
                  <a:pt x="61155" y="3945345"/>
                  <a:pt x="67223" y="3938572"/>
                  <a:pt x="70257" y="3928412"/>
                </a:cubicBezTo>
                <a:cubicBezTo>
                  <a:pt x="64189" y="3928412"/>
                  <a:pt x="61155" y="3931799"/>
                  <a:pt x="58122" y="3928412"/>
                </a:cubicBezTo>
                <a:cubicBezTo>
                  <a:pt x="52054" y="3921639"/>
                  <a:pt x="52054" y="3911479"/>
                  <a:pt x="55088" y="3908093"/>
                </a:cubicBezTo>
                <a:cubicBezTo>
                  <a:pt x="58122" y="3894547"/>
                  <a:pt x="55088" y="3884387"/>
                  <a:pt x="58122" y="3877614"/>
                </a:cubicBezTo>
                <a:cubicBezTo>
                  <a:pt x="58122" y="3867454"/>
                  <a:pt x="58122" y="3853908"/>
                  <a:pt x="55088" y="3843748"/>
                </a:cubicBezTo>
                <a:cubicBezTo>
                  <a:pt x="55088" y="3843748"/>
                  <a:pt x="55088" y="3843748"/>
                  <a:pt x="55088" y="3840362"/>
                </a:cubicBezTo>
                <a:cubicBezTo>
                  <a:pt x="55088" y="3833589"/>
                  <a:pt x="58122" y="3823429"/>
                  <a:pt x="58122" y="3820042"/>
                </a:cubicBezTo>
                <a:cubicBezTo>
                  <a:pt x="58122" y="3809883"/>
                  <a:pt x="58122" y="3803109"/>
                  <a:pt x="61155" y="3796336"/>
                </a:cubicBezTo>
                <a:cubicBezTo>
                  <a:pt x="64189" y="3779404"/>
                  <a:pt x="70257" y="3759084"/>
                  <a:pt x="64189" y="3742151"/>
                </a:cubicBezTo>
                <a:cubicBezTo>
                  <a:pt x="64189" y="3731992"/>
                  <a:pt x="64189" y="3721832"/>
                  <a:pt x="61155" y="3711672"/>
                </a:cubicBezTo>
                <a:cubicBezTo>
                  <a:pt x="58122" y="3708286"/>
                  <a:pt x="61155" y="3698126"/>
                  <a:pt x="61155" y="3694739"/>
                </a:cubicBezTo>
                <a:cubicBezTo>
                  <a:pt x="61155" y="3687966"/>
                  <a:pt x="61155" y="3681193"/>
                  <a:pt x="61155" y="3677807"/>
                </a:cubicBezTo>
                <a:cubicBezTo>
                  <a:pt x="61155" y="3660874"/>
                  <a:pt x="58122" y="3643941"/>
                  <a:pt x="61155" y="3627008"/>
                </a:cubicBezTo>
                <a:cubicBezTo>
                  <a:pt x="64189" y="3620235"/>
                  <a:pt x="64189" y="3610075"/>
                  <a:pt x="61155" y="3603302"/>
                </a:cubicBezTo>
                <a:cubicBezTo>
                  <a:pt x="61155" y="3586369"/>
                  <a:pt x="61155" y="3572823"/>
                  <a:pt x="64189" y="3555890"/>
                </a:cubicBezTo>
                <a:cubicBezTo>
                  <a:pt x="67223" y="3535571"/>
                  <a:pt x="64189" y="3511865"/>
                  <a:pt x="61155" y="3491546"/>
                </a:cubicBezTo>
                <a:cubicBezTo>
                  <a:pt x="61155" y="3484773"/>
                  <a:pt x="58122" y="3474613"/>
                  <a:pt x="61155" y="3467840"/>
                </a:cubicBezTo>
                <a:cubicBezTo>
                  <a:pt x="61155" y="3464453"/>
                  <a:pt x="58122" y="3461067"/>
                  <a:pt x="58122" y="3457680"/>
                </a:cubicBezTo>
                <a:cubicBezTo>
                  <a:pt x="55088" y="3440747"/>
                  <a:pt x="52054" y="3427201"/>
                  <a:pt x="52054" y="3413655"/>
                </a:cubicBezTo>
                <a:cubicBezTo>
                  <a:pt x="45986" y="3403495"/>
                  <a:pt x="52054" y="3396722"/>
                  <a:pt x="49020" y="3389949"/>
                </a:cubicBezTo>
                <a:cubicBezTo>
                  <a:pt x="45986" y="3379789"/>
                  <a:pt x="45986" y="3369630"/>
                  <a:pt x="49020" y="3362856"/>
                </a:cubicBezTo>
                <a:cubicBezTo>
                  <a:pt x="52054" y="3352697"/>
                  <a:pt x="49020" y="3345924"/>
                  <a:pt x="45986" y="3335764"/>
                </a:cubicBezTo>
                <a:cubicBezTo>
                  <a:pt x="42952" y="3332377"/>
                  <a:pt x="39918" y="3332377"/>
                  <a:pt x="39918" y="3325604"/>
                </a:cubicBezTo>
                <a:cubicBezTo>
                  <a:pt x="39918" y="3322218"/>
                  <a:pt x="36884" y="3315445"/>
                  <a:pt x="36884" y="3305285"/>
                </a:cubicBezTo>
                <a:cubicBezTo>
                  <a:pt x="39918" y="3298512"/>
                  <a:pt x="33850" y="3295125"/>
                  <a:pt x="33850" y="3288352"/>
                </a:cubicBezTo>
                <a:cubicBezTo>
                  <a:pt x="33850" y="3281579"/>
                  <a:pt x="33850" y="3278192"/>
                  <a:pt x="33850" y="3274806"/>
                </a:cubicBezTo>
                <a:cubicBezTo>
                  <a:pt x="33850" y="3271419"/>
                  <a:pt x="33850" y="3268033"/>
                  <a:pt x="33850" y="3264646"/>
                </a:cubicBezTo>
                <a:cubicBezTo>
                  <a:pt x="30817" y="3261260"/>
                  <a:pt x="30817" y="3254487"/>
                  <a:pt x="30817" y="3251100"/>
                </a:cubicBezTo>
                <a:cubicBezTo>
                  <a:pt x="30817" y="3237554"/>
                  <a:pt x="30817" y="3227394"/>
                  <a:pt x="24749" y="3224008"/>
                </a:cubicBezTo>
                <a:cubicBezTo>
                  <a:pt x="27783" y="3207075"/>
                  <a:pt x="30817" y="3193528"/>
                  <a:pt x="30817" y="3179982"/>
                </a:cubicBezTo>
                <a:cubicBezTo>
                  <a:pt x="30817" y="3169823"/>
                  <a:pt x="33850" y="3159663"/>
                  <a:pt x="30817" y="3149503"/>
                </a:cubicBezTo>
                <a:cubicBezTo>
                  <a:pt x="30817" y="3146116"/>
                  <a:pt x="33850" y="3139344"/>
                  <a:pt x="33850" y="3135957"/>
                </a:cubicBezTo>
                <a:cubicBezTo>
                  <a:pt x="39918" y="3129184"/>
                  <a:pt x="39918" y="3122411"/>
                  <a:pt x="39918" y="3112251"/>
                </a:cubicBezTo>
                <a:cubicBezTo>
                  <a:pt x="36884" y="3102091"/>
                  <a:pt x="36884" y="3088545"/>
                  <a:pt x="39918" y="3074999"/>
                </a:cubicBezTo>
                <a:cubicBezTo>
                  <a:pt x="39918" y="3068226"/>
                  <a:pt x="39918" y="3061452"/>
                  <a:pt x="42952" y="3054679"/>
                </a:cubicBezTo>
                <a:cubicBezTo>
                  <a:pt x="42952" y="3051293"/>
                  <a:pt x="42952" y="3054679"/>
                  <a:pt x="42952" y="3044520"/>
                </a:cubicBezTo>
                <a:cubicBezTo>
                  <a:pt x="39918" y="3044520"/>
                  <a:pt x="36884" y="3044520"/>
                  <a:pt x="33850" y="3044520"/>
                </a:cubicBezTo>
                <a:cubicBezTo>
                  <a:pt x="33850" y="3044520"/>
                  <a:pt x="33850" y="3034360"/>
                  <a:pt x="30817" y="3030973"/>
                </a:cubicBezTo>
                <a:cubicBezTo>
                  <a:pt x="33850" y="3027587"/>
                  <a:pt x="36884" y="3020814"/>
                  <a:pt x="39918" y="3020814"/>
                </a:cubicBezTo>
                <a:cubicBezTo>
                  <a:pt x="36884" y="3014040"/>
                  <a:pt x="33850" y="3007267"/>
                  <a:pt x="33850" y="2997108"/>
                </a:cubicBezTo>
                <a:cubicBezTo>
                  <a:pt x="30817" y="2986948"/>
                  <a:pt x="30817" y="2970015"/>
                  <a:pt x="21715" y="2959855"/>
                </a:cubicBezTo>
                <a:cubicBezTo>
                  <a:pt x="18681" y="2953083"/>
                  <a:pt x="15647" y="2949696"/>
                  <a:pt x="18681" y="2939536"/>
                </a:cubicBezTo>
                <a:cubicBezTo>
                  <a:pt x="21715" y="2929376"/>
                  <a:pt x="15647" y="2919217"/>
                  <a:pt x="15647" y="2905670"/>
                </a:cubicBezTo>
                <a:cubicBezTo>
                  <a:pt x="12613" y="2895511"/>
                  <a:pt x="9579" y="2885351"/>
                  <a:pt x="9579" y="2875191"/>
                </a:cubicBezTo>
                <a:cubicBezTo>
                  <a:pt x="12613" y="2865032"/>
                  <a:pt x="12613" y="2858259"/>
                  <a:pt x="12613" y="2851486"/>
                </a:cubicBezTo>
                <a:cubicBezTo>
                  <a:pt x="12613" y="2841326"/>
                  <a:pt x="15647" y="2831166"/>
                  <a:pt x="12613" y="2824393"/>
                </a:cubicBezTo>
                <a:cubicBezTo>
                  <a:pt x="9579" y="2814233"/>
                  <a:pt x="9579" y="2804074"/>
                  <a:pt x="9579" y="2793914"/>
                </a:cubicBezTo>
                <a:cubicBezTo>
                  <a:pt x="9579" y="2787141"/>
                  <a:pt x="9579" y="2780368"/>
                  <a:pt x="9579" y="2770208"/>
                </a:cubicBezTo>
                <a:cubicBezTo>
                  <a:pt x="6545" y="2746502"/>
                  <a:pt x="9579" y="2719410"/>
                  <a:pt x="15647" y="2699090"/>
                </a:cubicBezTo>
                <a:cubicBezTo>
                  <a:pt x="21715" y="2682158"/>
                  <a:pt x="24749" y="2665225"/>
                  <a:pt x="30817" y="2648292"/>
                </a:cubicBezTo>
                <a:cubicBezTo>
                  <a:pt x="33850" y="2638132"/>
                  <a:pt x="33850" y="2631359"/>
                  <a:pt x="36884" y="2624586"/>
                </a:cubicBezTo>
                <a:cubicBezTo>
                  <a:pt x="39918" y="2614426"/>
                  <a:pt x="39918" y="2604266"/>
                  <a:pt x="36884" y="2594107"/>
                </a:cubicBezTo>
                <a:cubicBezTo>
                  <a:pt x="33850" y="2594107"/>
                  <a:pt x="33850" y="2594107"/>
                  <a:pt x="36884" y="2590720"/>
                </a:cubicBezTo>
                <a:cubicBezTo>
                  <a:pt x="36884" y="2583947"/>
                  <a:pt x="36884" y="2580561"/>
                  <a:pt x="33850" y="2577174"/>
                </a:cubicBezTo>
                <a:cubicBezTo>
                  <a:pt x="30817" y="2563628"/>
                  <a:pt x="30817" y="2553468"/>
                  <a:pt x="30817" y="2539922"/>
                </a:cubicBezTo>
                <a:cubicBezTo>
                  <a:pt x="30817" y="2529762"/>
                  <a:pt x="27783" y="2522989"/>
                  <a:pt x="30817" y="2512830"/>
                </a:cubicBezTo>
                <a:cubicBezTo>
                  <a:pt x="30817" y="2499283"/>
                  <a:pt x="30817" y="2485737"/>
                  <a:pt x="30817" y="2475577"/>
                </a:cubicBezTo>
                <a:cubicBezTo>
                  <a:pt x="24749" y="2465417"/>
                  <a:pt x="30817" y="2451871"/>
                  <a:pt x="30817" y="2441711"/>
                </a:cubicBezTo>
                <a:cubicBezTo>
                  <a:pt x="27783" y="2434938"/>
                  <a:pt x="24749" y="2424779"/>
                  <a:pt x="30817" y="2418006"/>
                </a:cubicBezTo>
                <a:cubicBezTo>
                  <a:pt x="30817" y="2418006"/>
                  <a:pt x="30817" y="2411233"/>
                  <a:pt x="30817" y="2407846"/>
                </a:cubicBezTo>
                <a:cubicBezTo>
                  <a:pt x="30817" y="2404459"/>
                  <a:pt x="30817" y="2397686"/>
                  <a:pt x="27783" y="2390913"/>
                </a:cubicBezTo>
                <a:cubicBezTo>
                  <a:pt x="36884" y="2367207"/>
                  <a:pt x="39918" y="2336728"/>
                  <a:pt x="45986" y="2309636"/>
                </a:cubicBezTo>
                <a:cubicBezTo>
                  <a:pt x="45986" y="2306249"/>
                  <a:pt x="42952" y="2302862"/>
                  <a:pt x="39918" y="2299476"/>
                </a:cubicBezTo>
                <a:cubicBezTo>
                  <a:pt x="39918" y="2289316"/>
                  <a:pt x="39918" y="2282543"/>
                  <a:pt x="42952" y="2275770"/>
                </a:cubicBezTo>
                <a:cubicBezTo>
                  <a:pt x="42952" y="2265610"/>
                  <a:pt x="45986" y="2262224"/>
                  <a:pt x="49020" y="2255451"/>
                </a:cubicBezTo>
                <a:cubicBezTo>
                  <a:pt x="52054" y="2252064"/>
                  <a:pt x="55088" y="2245291"/>
                  <a:pt x="58122" y="2235131"/>
                </a:cubicBezTo>
                <a:cubicBezTo>
                  <a:pt x="52054" y="2221585"/>
                  <a:pt x="49020" y="2218198"/>
                  <a:pt x="39918" y="2211425"/>
                </a:cubicBezTo>
                <a:cubicBezTo>
                  <a:pt x="39918" y="2194492"/>
                  <a:pt x="36884" y="2177560"/>
                  <a:pt x="39918" y="2160627"/>
                </a:cubicBezTo>
                <a:cubicBezTo>
                  <a:pt x="39918" y="2157240"/>
                  <a:pt x="36884" y="2150467"/>
                  <a:pt x="33850" y="2140308"/>
                </a:cubicBezTo>
                <a:cubicBezTo>
                  <a:pt x="30817" y="2140308"/>
                  <a:pt x="30817" y="2140308"/>
                  <a:pt x="30817" y="2140308"/>
                </a:cubicBezTo>
                <a:cubicBezTo>
                  <a:pt x="27783" y="2140308"/>
                  <a:pt x="24749" y="2140308"/>
                  <a:pt x="24749" y="2140308"/>
                </a:cubicBezTo>
                <a:cubicBezTo>
                  <a:pt x="24749" y="2136921"/>
                  <a:pt x="24749" y="2133534"/>
                  <a:pt x="27783" y="2130148"/>
                </a:cubicBezTo>
                <a:cubicBezTo>
                  <a:pt x="30817" y="2130148"/>
                  <a:pt x="30817" y="2123375"/>
                  <a:pt x="30817" y="2119988"/>
                </a:cubicBezTo>
                <a:cubicBezTo>
                  <a:pt x="24749" y="2116601"/>
                  <a:pt x="21715" y="2123375"/>
                  <a:pt x="18681" y="2116601"/>
                </a:cubicBezTo>
                <a:cubicBezTo>
                  <a:pt x="24749" y="2096282"/>
                  <a:pt x="15647" y="2086122"/>
                  <a:pt x="9579" y="2075963"/>
                </a:cubicBezTo>
                <a:cubicBezTo>
                  <a:pt x="12613" y="2059030"/>
                  <a:pt x="12613" y="2059030"/>
                  <a:pt x="12613" y="2048870"/>
                </a:cubicBezTo>
                <a:cubicBezTo>
                  <a:pt x="9579" y="2042097"/>
                  <a:pt x="12613" y="2035324"/>
                  <a:pt x="15647" y="2031937"/>
                </a:cubicBezTo>
                <a:cubicBezTo>
                  <a:pt x="18681" y="2025164"/>
                  <a:pt x="12613" y="2025164"/>
                  <a:pt x="12613" y="2018391"/>
                </a:cubicBezTo>
                <a:cubicBezTo>
                  <a:pt x="15647" y="2015005"/>
                  <a:pt x="18681" y="2011618"/>
                  <a:pt x="18681" y="2008232"/>
                </a:cubicBezTo>
                <a:cubicBezTo>
                  <a:pt x="18681" y="2004845"/>
                  <a:pt x="15647" y="2001458"/>
                  <a:pt x="15647" y="1998072"/>
                </a:cubicBezTo>
                <a:cubicBezTo>
                  <a:pt x="18681" y="1977753"/>
                  <a:pt x="24749" y="1960820"/>
                  <a:pt x="15647" y="1943887"/>
                </a:cubicBezTo>
                <a:cubicBezTo>
                  <a:pt x="15647" y="1933727"/>
                  <a:pt x="18681" y="1923568"/>
                  <a:pt x="18681" y="1916794"/>
                </a:cubicBezTo>
                <a:cubicBezTo>
                  <a:pt x="9579" y="1906635"/>
                  <a:pt x="6545" y="1906635"/>
                  <a:pt x="12613" y="1889702"/>
                </a:cubicBezTo>
                <a:cubicBezTo>
                  <a:pt x="12613" y="1889702"/>
                  <a:pt x="12613" y="1889702"/>
                  <a:pt x="12613" y="1886315"/>
                </a:cubicBezTo>
                <a:cubicBezTo>
                  <a:pt x="18681" y="1886315"/>
                  <a:pt x="21715" y="1879542"/>
                  <a:pt x="21715" y="1876156"/>
                </a:cubicBezTo>
                <a:cubicBezTo>
                  <a:pt x="24749" y="1872769"/>
                  <a:pt x="21715" y="1872769"/>
                  <a:pt x="21715" y="1869383"/>
                </a:cubicBezTo>
                <a:cubicBezTo>
                  <a:pt x="18681" y="1869383"/>
                  <a:pt x="18681" y="1869383"/>
                  <a:pt x="12613" y="1869383"/>
                </a:cubicBezTo>
                <a:cubicBezTo>
                  <a:pt x="12613" y="1855836"/>
                  <a:pt x="12613" y="1842290"/>
                  <a:pt x="12613" y="1828744"/>
                </a:cubicBezTo>
                <a:cubicBezTo>
                  <a:pt x="24749" y="1815198"/>
                  <a:pt x="21715" y="1815198"/>
                  <a:pt x="12613" y="1805038"/>
                </a:cubicBezTo>
                <a:cubicBezTo>
                  <a:pt x="12613" y="1805038"/>
                  <a:pt x="12613" y="1801651"/>
                  <a:pt x="12613" y="1801651"/>
                </a:cubicBezTo>
                <a:cubicBezTo>
                  <a:pt x="12613" y="1794878"/>
                  <a:pt x="15647" y="1791492"/>
                  <a:pt x="15647" y="1788105"/>
                </a:cubicBezTo>
                <a:cubicBezTo>
                  <a:pt x="21715" y="1781332"/>
                  <a:pt x="21715" y="1774559"/>
                  <a:pt x="18681" y="1764399"/>
                </a:cubicBezTo>
                <a:cubicBezTo>
                  <a:pt x="15647" y="1757626"/>
                  <a:pt x="15647" y="1750853"/>
                  <a:pt x="18681" y="1747466"/>
                </a:cubicBezTo>
                <a:cubicBezTo>
                  <a:pt x="21715" y="1740693"/>
                  <a:pt x="21715" y="1733920"/>
                  <a:pt x="18681" y="1730533"/>
                </a:cubicBezTo>
                <a:cubicBezTo>
                  <a:pt x="15647" y="1723760"/>
                  <a:pt x="15647" y="1713601"/>
                  <a:pt x="15647" y="1706828"/>
                </a:cubicBezTo>
                <a:cubicBezTo>
                  <a:pt x="15647" y="1703441"/>
                  <a:pt x="15647" y="1693281"/>
                  <a:pt x="15647" y="1689895"/>
                </a:cubicBezTo>
                <a:cubicBezTo>
                  <a:pt x="9579" y="1686508"/>
                  <a:pt x="-2556" y="1686508"/>
                  <a:pt x="478" y="1659416"/>
                </a:cubicBezTo>
                <a:cubicBezTo>
                  <a:pt x="478" y="1659416"/>
                  <a:pt x="3512" y="1656029"/>
                  <a:pt x="6545" y="1649256"/>
                </a:cubicBezTo>
                <a:cubicBezTo>
                  <a:pt x="12613" y="1645869"/>
                  <a:pt x="15647" y="1642483"/>
                  <a:pt x="12613" y="1632323"/>
                </a:cubicBezTo>
                <a:cubicBezTo>
                  <a:pt x="12613" y="1628937"/>
                  <a:pt x="15647" y="1622163"/>
                  <a:pt x="15647" y="1622163"/>
                </a:cubicBezTo>
                <a:cubicBezTo>
                  <a:pt x="15647" y="1618777"/>
                  <a:pt x="18681" y="1615390"/>
                  <a:pt x="18681" y="1612004"/>
                </a:cubicBezTo>
                <a:cubicBezTo>
                  <a:pt x="15647" y="1608617"/>
                  <a:pt x="12613" y="1605231"/>
                  <a:pt x="9579" y="1605231"/>
                </a:cubicBezTo>
                <a:cubicBezTo>
                  <a:pt x="9579" y="1595071"/>
                  <a:pt x="9579" y="1591684"/>
                  <a:pt x="15647" y="1588298"/>
                </a:cubicBezTo>
                <a:cubicBezTo>
                  <a:pt x="21715" y="1588298"/>
                  <a:pt x="21715" y="1578138"/>
                  <a:pt x="18681" y="1574751"/>
                </a:cubicBezTo>
                <a:cubicBezTo>
                  <a:pt x="15647" y="1561205"/>
                  <a:pt x="18681" y="1551046"/>
                  <a:pt x="18681" y="1544273"/>
                </a:cubicBezTo>
                <a:cubicBezTo>
                  <a:pt x="24749" y="1534113"/>
                  <a:pt x="21715" y="1527340"/>
                  <a:pt x="21715" y="1520567"/>
                </a:cubicBezTo>
                <a:cubicBezTo>
                  <a:pt x="15647" y="1500247"/>
                  <a:pt x="18681" y="1479928"/>
                  <a:pt x="24749" y="1462995"/>
                </a:cubicBezTo>
                <a:cubicBezTo>
                  <a:pt x="24749" y="1459608"/>
                  <a:pt x="30817" y="1456222"/>
                  <a:pt x="30817" y="1452835"/>
                </a:cubicBezTo>
                <a:cubicBezTo>
                  <a:pt x="36884" y="1439289"/>
                  <a:pt x="45986" y="1425743"/>
                  <a:pt x="42952" y="1402037"/>
                </a:cubicBezTo>
                <a:cubicBezTo>
                  <a:pt x="42952" y="1398650"/>
                  <a:pt x="42952" y="1391877"/>
                  <a:pt x="39918" y="1385104"/>
                </a:cubicBezTo>
                <a:cubicBezTo>
                  <a:pt x="39918" y="1378331"/>
                  <a:pt x="39918" y="1371558"/>
                  <a:pt x="42952" y="1364785"/>
                </a:cubicBezTo>
                <a:cubicBezTo>
                  <a:pt x="45986" y="1344465"/>
                  <a:pt x="49020" y="1330919"/>
                  <a:pt x="61155" y="1327533"/>
                </a:cubicBezTo>
                <a:cubicBezTo>
                  <a:pt x="70257" y="1324146"/>
                  <a:pt x="73291" y="1313986"/>
                  <a:pt x="73291" y="1300440"/>
                </a:cubicBezTo>
                <a:cubicBezTo>
                  <a:pt x="73291" y="1300440"/>
                  <a:pt x="73291" y="1293667"/>
                  <a:pt x="73291" y="1290280"/>
                </a:cubicBezTo>
                <a:cubicBezTo>
                  <a:pt x="85427" y="1273348"/>
                  <a:pt x="91494" y="1246255"/>
                  <a:pt x="100596" y="1222549"/>
                </a:cubicBezTo>
                <a:cubicBezTo>
                  <a:pt x="97562" y="1219163"/>
                  <a:pt x="94528" y="1215776"/>
                  <a:pt x="91494" y="1215776"/>
                </a:cubicBezTo>
                <a:cubicBezTo>
                  <a:pt x="85427" y="1212389"/>
                  <a:pt x="82393" y="1209003"/>
                  <a:pt x="82393" y="1202230"/>
                </a:cubicBezTo>
                <a:cubicBezTo>
                  <a:pt x="82393" y="1198843"/>
                  <a:pt x="82393" y="1195457"/>
                  <a:pt x="82393" y="1195457"/>
                </a:cubicBezTo>
                <a:cubicBezTo>
                  <a:pt x="79359" y="1195457"/>
                  <a:pt x="76325" y="1195457"/>
                  <a:pt x="70257" y="1195457"/>
                </a:cubicBezTo>
                <a:cubicBezTo>
                  <a:pt x="70257" y="1188684"/>
                  <a:pt x="70257" y="1181910"/>
                  <a:pt x="73291" y="1178524"/>
                </a:cubicBezTo>
                <a:cubicBezTo>
                  <a:pt x="73291" y="1164978"/>
                  <a:pt x="73291" y="1151431"/>
                  <a:pt x="70257" y="1137885"/>
                </a:cubicBezTo>
                <a:cubicBezTo>
                  <a:pt x="70257" y="1127725"/>
                  <a:pt x="70257" y="1114179"/>
                  <a:pt x="70257" y="1100633"/>
                </a:cubicBezTo>
                <a:cubicBezTo>
                  <a:pt x="70257" y="1083700"/>
                  <a:pt x="70257" y="1066767"/>
                  <a:pt x="67223" y="1053221"/>
                </a:cubicBezTo>
                <a:cubicBezTo>
                  <a:pt x="64189" y="1026129"/>
                  <a:pt x="64189" y="1002423"/>
                  <a:pt x="70257" y="978717"/>
                </a:cubicBezTo>
                <a:cubicBezTo>
                  <a:pt x="70257" y="965170"/>
                  <a:pt x="73291" y="955011"/>
                  <a:pt x="70257" y="944851"/>
                </a:cubicBezTo>
                <a:cubicBezTo>
                  <a:pt x="70257" y="934691"/>
                  <a:pt x="70257" y="927918"/>
                  <a:pt x="70257" y="917759"/>
                </a:cubicBezTo>
                <a:cubicBezTo>
                  <a:pt x="73291" y="910985"/>
                  <a:pt x="73291" y="904212"/>
                  <a:pt x="73291" y="900826"/>
                </a:cubicBezTo>
                <a:cubicBezTo>
                  <a:pt x="73291" y="890666"/>
                  <a:pt x="73291" y="883893"/>
                  <a:pt x="70257" y="877120"/>
                </a:cubicBezTo>
                <a:cubicBezTo>
                  <a:pt x="79359" y="866960"/>
                  <a:pt x="82393" y="850027"/>
                  <a:pt x="82393" y="833094"/>
                </a:cubicBezTo>
                <a:cubicBezTo>
                  <a:pt x="82393" y="816162"/>
                  <a:pt x="85427" y="802615"/>
                  <a:pt x="85427" y="785683"/>
                </a:cubicBezTo>
                <a:cubicBezTo>
                  <a:pt x="85427" y="775523"/>
                  <a:pt x="85427" y="768750"/>
                  <a:pt x="85427" y="758590"/>
                </a:cubicBezTo>
                <a:cubicBezTo>
                  <a:pt x="79359" y="724724"/>
                  <a:pt x="82393" y="687472"/>
                  <a:pt x="88460" y="650220"/>
                </a:cubicBezTo>
                <a:cubicBezTo>
                  <a:pt x="91494" y="633287"/>
                  <a:pt x="94528" y="616354"/>
                  <a:pt x="88460" y="599422"/>
                </a:cubicBezTo>
                <a:cubicBezTo>
                  <a:pt x="88460" y="599422"/>
                  <a:pt x="88460" y="599422"/>
                  <a:pt x="88460" y="592648"/>
                </a:cubicBezTo>
                <a:cubicBezTo>
                  <a:pt x="88460" y="589262"/>
                  <a:pt x="88460" y="589262"/>
                  <a:pt x="88460" y="585875"/>
                </a:cubicBezTo>
                <a:cubicBezTo>
                  <a:pt x="85427" y="579102"/>
                  <a:pt x="85427" y="579102"/>
                  <a:pt x="85427" y="572329"/>
                </a:cubicBezTo>
                <a:cubicBezTo>
                  <a:pt x="85427" y="568943"/>
                  <a:pt x="88460" y="562169"/>
                  <a:pt x="88460" y="555396"/>
                </a:cubicBezTo>
                <a:cubicBezTo>
                  <a:pt x="88460" y="552010"/>
                  <a:pt x="91494" y="548623"/>
                  <a:pt x="91494" y="545237"/>
                </a:cubicBezTo>
                <a:cubicBezTo>
                  <a:pt x="82393" y="541850"/>
                  <a:pt x="76325" y="538464"/>
                  <a:pt x="70257" y="535077"/>
                </a:cubicBezTo>
                <a:cubicBezTo>
                  <a:pt x="67223" y="528304"/>
                  <a:pt x="70257" y="521531"/>
                  <a:pt x="67223" y="518144"/>
                </a:cubicBezTo>
                <a:cubicBezTo>
                  <a:pt x="67223" y="507984"/>
                  <a:pt x="70257" y="501211"/>
                  <a:pt x="70257" y="494438"/>
                </a:cubicBezTo>
                <a:cubicBezTo>
                  <a:pt x="70257" y="491052"/>
                  <a:pt x="64189" y="487665"/>
                  <a:pt x="64189" y="480892"/>
                </a:cubicBezTo>
                <a:cubicBezTo>
                  <a:pt x="64189" y="474119"/>
                  <a:pt x="58122" y="470732"/>
                  <a:pt x="58122" y="460573"/>
                </a:cubicBezTo>
                <a:cubicBezTo>
                  <a:pt x="61155" y="457186"/>
                  <a:pt x="64189" y="457186"/>
                  <a:pt x="67223" y="450413"/>
                </a:cubicBezTo>
                <a:cubicBezTo>
                  <a:pt x="64189" y="440253"/>
                  <a:pt x="67223" y="430094"/>
                  <a:pt x="67223" y="419934"/>
                </a:cubicBezTo>
                <a:cubicBezTo>
                  <a:pt x="67223" y="409774"/>
                  <a:pt x="67223" y="399615"/>
                  <a:pt x="67223" y="386068"/>
                </a:cubicBezTo>
                <a:cubicBezTo>
                  <a:pt x="67223" y="375909"/>
                  <a:pt x="70257" y="365749"/>
                  <a:pt x="70257" y="358976"/>
                </a:cubicBezTo>
                <a:cubicBezTo>
                  <a:pt x="70257" y="348816"/>
                  <a:pt x="67223" y="345429"/>
                  <a:pt x="67223" y="338656"/>
                </a:cubicBezTo>
                <a:cubicBezTo>
                  <a:pt x="67223" y="338656"/>
                  <a:pt x="67223" y="335270"/>
                  <a:pt x="67223" y="331883"/>
                </a:cubicBezTo>
                <a:cubicBezTo>
                  <a:pt x="67223" y="325110"/>
                  <a:pt x="70257" y="318337"/>
                  <a:pt x="70257" y="314950"/>
                </a:cubicBezTo>
                <a:cubicBezTo>
                  <a:pt x="70257" y="304791"/>
                  <a:pt x="64189" y="301404"/>
                  <a:pt x="67223" y="294631"/>
                </a:cubicBezTo>
                <a:cubicBezTo>
                  <a:pt x="67223" y="287858"/>
                  <a:pt x="67223" y="277698"/>
                  <a:pt x="67223" y="270925"/>
                </a:cubicBezTo>
                <a:cubicBezTo>
                  <a:pt x="64189" y="264152"/>
                  <a:pt x="64189" y="260765"/>
                  <a:pt x="67223" y="250606"/>
                </a:cubicBezTo>
                <a:cubicBezTo>
                  <a:pt x="70257" y="240446"/>
                  <a:pt x="70257" y="240446"/>
                  <a:pt x="64189" y="233673"/>
                </a:cubicBezTo>
                <a:cubicBezTo>
                  <a:pt x="61155" y="230286"/>
                  <a:pt x="58122" y="223513"/>
                  <a:pt x="58122" y="220127"/>
                </a:cubicBezTo>
                <a:cubicBezTo>
                  <a:pt x="52054" y="206580"/>
                  <a:pt x="49020" y="189648"/>
                  <a:pt x="55088" y="172715"/>
                </a:cubicBezTo>
                <a:cubicBezTo>
                  <a:pt x="55088" y="159169"/>
                  <a:pt x="61155" y="145622"/>
                  <a:pt x="52054" y="128689"/>
                </a:cubicBezTo>
                <a:cubicBezTo>
                  <a:pt x="49020" y="121916"/>
                  <a:pt x="49020" y="115143"/>
                  <a:pt x="49020" y="104984"/>
                </a:cubicBezTo>
                <a:cubicBezTo>
                  <a:pt x="52054" y="98210"/>
                  <a:pt x="52054" y="88051"/>
                  <a:pt x="49020" y="77891"/>
                </a:cubicBezTo>
                <a:cubicBezTo>
                  <a:pt x="45986" y="71118"/>
                  <a:pt x="49020" y="64345"/>
                  <a:pt x="45986" y="57572"/>
                </a:cubicBezTo>
                <a:cubicBezTo>
                  <a:pt x="39918" y="47412"/>
                  <a:pt x="49020" y="44025"/>
                  <a:pt x="45986" y="37252"/>
                </a:cubicBezTo>
                <a:cubicBezTo>
                  <a:pt x="45986" y="33866"/>
                  <a:pt x="45986" y="30479"/>
                  <a:pt x="45986" y="27093"/>
                </a:cubicBezTo>
                <a:cubicBezTo>
                  <a:pt x="42952" y="20319"/>
                  <a:pt x="42952" y="10160"/>
                  <a:pt x="49020" y="3387"/>
                </a:cubicBezTo>
                <a:cubicBezTo>
                  <a:pt x="49020" y="0"/>
                  <a:pt x="49020" y="0"/>
                  <a:pt x="49020"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4" name="Group 3">
            <a:extLst>
              <a:ext uri="{FF2B5EF4-FFF2-40B4-BE49-F238E27FC236}">
                <a16:creationId xmlns:a16="http://schemas.microsoft.com/office/drawing/2014/main" xmlns="" id="{3BDD8A2A-7779-4856-B0D7-4F4E5781E797}"/>
              </a:ext>
            </a:extLst>
          </p:cNvPr>
          <p:cNvGrpSpPr/>
          <p:nvPr userDrawn="1"/>
        </p:nvGrpSpPr>
        <p:grpSpPr>
          <a:xfrm>
            <a:off x="0" y="671661"/>
            <a:ext cx="5593398" cy="1424215"/>
            <a:chOff x="-1" y="1445896"/>
            <a:chExt cx="15656012" cy="3065930"/>
          </a:xfrm>
        </p:grpSpPr>
        <p:sp>
          <p:nvSpPr>
            <p:cNvPr id="19" name="Freeform: Shape 18"/>
            <p:cNvSpPr/>
            <p:nvPr userDrawn="1"/>
          </p:nvSpPr>
          <p:spPr>
            <a:xfrm rot="16200000">
              <a:off x="6295040" y="-4849145"/>
              <a:ext cx="3065930" cy="15656012"/>
            </a:xfrm>
            <a:custGeom>
              <a:avLst/>
              <a:gdLst>
                <a:gd name="connsiteX0" fmla="*/ 3065930 w 3065930"/>
                <a:gd name="connsiteY0" fmla="*/ 0 h 15656012"/>
                <a:gd name="connsiteX1" fmla="*/ 3065930 w 3065930"/>
                <a:gd name="connsiteY1" fmla="*/ 15656012 h 15656012"/>
                <a:gd name="connsiteX2" fmla="*/ 0 w 3065930"/>
                <a:gd name="connsiteY2" fmla="*/ 12590082 h 15656012"/>
                <a:gd name="connsiteX3" fmla="*/ 0 w 3065930"/>
                <a:gd name="connsiteY3" fmla="*/ 0 h 15656012"/>
                <a:gd name="connsiteX4" fmla="*/ 3065930 w 3065930"/>
                <a:gd name="connsiteY4" fmla="*/ 0 h 15656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930" h="15656012">
                  <a:moveTo>
                    <a:pt x="3065930" y="0"/>
                  </a:moveTo>
                  <a:lnTo>
                    <a:pt x="3065930" y="15656012"/>
                  </a:lnTo>
                  <a:lnTo>
                    <a:pt x="0" y="12590082"/>
                  </a:lnTo>
                  <a:lnTo>
                    <a:pt x="0" y="0"/>
                  </a:lnTo>
                  <a:lnTo>
                    <a:pt x="3065930"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63358"/>
              <a:endParaRPr lang="en-GB" sz="643" dirty="0">
                <a:solidFill>
                  <a:srgbClr val="FFFFFF"/>
                </a:solidFill>
              </a:endParaRPr>
            </a:p>
          </p:txBody>
        </p:sp>
        <p:cxnSp>
          <p:nvCxnSpPr>
            <p:cNvPr id="25" name="Straight Connector 24"/>
            <p:cNvCxnSpPr>
              <a:cxnSpLocks/>
            </p:cNvCxnSpPr>
            <p:nvPr userDrawn="1"/>
          </p:nvCxnSpPr>
          <p:spPr>
            <a:xfrm flipV="1">
              <a:off x="13170601" y="1935936"/>
              <a:ext cx="2209201" cy="2209202"/>
            </a:xfrm>
            <a:prstGeom prst="line">
              <a:avLst/>
            </a:prstGeom>
            <a:solidFill>
              <a:schemeClr val="accent1"/>
            </a:solidFill>
            <a:ln w="762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xmlns="" id="{9E7EC44D-ADF6-48B1-A127-002D3969EED2}"/>
              </a:ext>
            </a:extLst>
          </p:cNvPr>
          <p:cNvSpPr>
            <a:spLocks noGrp="1"/>
          </p:cNvSpPr>
          <p:nvPr>
            <p:ph type="ftr" sz="quarter" idx="18"/>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EBAF2A3B-27ED-4413-BE1B-82797882DAF3}"/>
              </a:ext>
            </a:extLst>
          </p:cNvPr>
          <p:cNvSpPr>
            <a:spLocks noGrp="1"/>
          </p:cNvSpPr>
          <p:nvPr>
            <p:ph type="sldNum" sz="quarter" idx="1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7091735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isyDeck Master - 74">
    <p:bg>
      <p:bgPr>
        <a:solidFill>
          <a:schemeClr val="bg1"/>
        </a:solidFill>
        <a:effectLst/>
      </p:bgPr>
    </p:bg>
    <p:spTree>
      <p:nvGrpSpPr>
        <p:cNvPr id="1" name=""/>
        <p:cNvGrpSpPr/>
        <p:nvPr/>
      </p:nvGrpSpPr>
      <p:grpSpPr>
        <a:xfrm>
          <a:off x="0" y="0"/>
          <a:ext cx="0" cy="0"/>
          <a:chOff x="0" y="0"/>
          <a:chExt cx="0" cy="0"/>
        </a:xfrm>
      </p:grpSpPr>
      <p:sp>
        <p:nvSpPr>
          <p:cNvPr id="10" name="Picture Placeholder 15"/>
          <p:cNvSpPr>
            <a:spLocks noGrp="1"/>
          </p:cNvSpPr>
          <p:nvPr>
            <p:ph type="pic" sz="quarter" idx="12"/>
          </p:nvPr>
        </p:nvSpPr>
        <p:spPr>
          <a:xfrm>
            <a:off x="5905974" y="0"/>
            <a:ext cx="2806226" cy="6372225"/>
          </a:xfrm>
          <a:custGeom>
            <a:avLst/>
            <a:gdLst>
              <a:gd name="connsiteX0" fmla="*/ 0 w 3209027"/>
              <a:gd name="connsiteY0" fmla="*/ 0 h 3429000"/>
              <a:gd name="connsiteX1" fmla="*/ 3209027 w 3209027"/>
              <a:gd name="connsiteY1" fmla="*/ 0 h 3429000"/>
              <a:gd name="connsiteX2" fmla="*/ 3209027 w 3209027"/>
              <a:gd name="connsiteY2" fmla="*/ 3429000 h 3429000"/>
              <a:gd name="connsiteX3" fmla="*/ 0 w 320902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209027" h="3429000">
                <a:moveTo>
                  <a:pt x="0" y="0"/>
                </a:moveTo>
                <a:lnTo>
                  <a:pt x="3209027" y="0"/>
                </a:lnTo>
                <a:lnTo>
                  <a:pt x="3209027" y="3429000"/>
                </a:lnTo>
                <a:lnTo>
                  <a:pt x="0" y="342900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8" name="Group 17"/>
          <p:cNvGrpSpPr/>
          <p:nvPr userDrawn="1"/>
        </p:nvGrpSpPr>
        <p:grpSpPr>
          <a:xfrm>
            <a:off x="3913830" y="0"/>
            <a:ext cx="1998550" cy="6372225"/>
            <a:chOff x="10954871" y="0"/>
            <a:chExt cx="5593975" cy="13717588"/>
          </a:xfrm>
        </p:grpSpPr>
        <p:sp>
          <p:nvSpPr>
            <p:cNvPr id="19" name="Rectangle 18"/>
            <p:cNvSpPr/>
            <p:nvPr/>
          </p:nvSpPr>
          <p:spPr>
            <a:xfrm>
              <a:off x="10954871" y="0"/>
              <a:ext cx="5593975" cy="13717588"/>
            </a:xfrm>
            <a:prstGeom prst="rect">
              <a:avLst/>
            </a:pr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sp>
          <p:nvSpPr>
            <p:cNvPr id="20" name="Rectangle 19"/>
            <p:cNvSpPr/>
            <p:nvPr/>
          </p:nvSpPr>
          <p:spPr>
            <a:xfrm>
              <a:off x="16434319" y="0"/>
              <a:ext cx="114527" cy="13717588"/>
            </a:xfrm>
            <a:prstGeom prst="rect">
              <a:avLst/>
            </a:prstGeom>
            <a:solidFill>
              <a:srgbClr val="FFFFFF">
                <a:alpha val="25098"/>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grpSp>
      <p:grpSp>
        <p:nvGrpSpPr>
          <p:cNvPr id="21" name="Group 20"/>
          <p:cNvGrpSpPr>
            <a:grpSpLocks noChangeAspect="1"/>
          </p:cNvGrpSpPr>
          <p:nvPr userDrawn="1"/>
        </p:nvGrpSpPr>
        <p:grpSpPr>
          <a:xfrm rot="18900000">
            <a:off x="3908532" y="67003"/>
            <a:ext cx="168448" cy="71240"/>
            <a:chOff x="11661248" y="7789719"/>
            <a:chExt cx="1293156" cy="420621"/>
          </a:xfrm>
        </p:grpSpPr>
        <p:cxnSp>
          <p:nvCxnSpPr>
            <p:cNvPr id="22" name="Straight Connector 21"/>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9" name="Title 1">
            <a:extLst>
              <a:ext uri="{FF2B5EF4-FFF2-40B4-BE49-F238E27FC236}">
                <a16:creationId xmlns:a16="http://schemas.microsoft.com/office/drawing/2014/main" xmlns="" id="{D102B4FB-18D4-461F-832A-E1E90EFC4B48}"/>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4FE6378E-1C41-4121-8A24-501BE45E70A9}"/>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3E87391F-4AFD-488E-9DE1-A27D78ED1617}"/>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34" name="Group 33">
            <a:extLst>
              <a:ext uri="{FF2B5EF4-FFF2-40B4-BE49-F238E27FC236}">
                <a16:creationId xmlns:a16="http://schemas.microsoft.com/office/drawing/2014/main" xmlns="" id="{0C8D72EB-5364-4F4E-9359-1C0B1E247D4A}"/>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xmlns="" id="{1F56B934-CD7D-4395-B7CA-17933A8555AE}"/>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xmlns="" id="{65CACCBC-9003-4013-A4B7-DEE6E086088F}"/>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3F917631-2975-4295-BAB3-5EEE0F142D0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4F4B78E0-0ACE-43F7-BF34-218395BB1D5F}"/>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AF9A1400-2FBD-4171-9BCF-C139BCA696B0}"/>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xmlns="" id="{BE718BF3-F150-4B17-AD5B-24A8ED2F9598}"/>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AB435AFE-98EF-40E4-B87E-D128A37BA13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29817687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isyDeck Master - 75">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xmlns="" id="{86BBCAF3-6C1D-49C3-8BBE-5691DFC7E151}"/>
              </a:ext>
            </a:extLst>
          </p:cNvPr>
          <p:cNvSpPr>
            <a:spLocks noGrp="1"/>
          </p:cNvSpPr>
          <p:nvPr>
            <p:ph type="pic" sz="quarter" idx="14"/>
          </p:nvPr>
        </p:nvSpPr>
        <p:spPr>
          <a:xfrm>
            <a:off x="0" y="0"/>
            <a:ext cx="8712200" cy="4181028"/>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3" name="Group 2">
            <a:extLst>
              <a:ext uri="{FF2B5EF4-FFF2-40B4-BE49-F238E27FC236}">
                <a16:creationId xmlns:a16="http://schemas.microsoft.com/office/drawing/2014/main" xmlns="" id="{6FC46514-4278-4CC8-B414-663AFF961CBD}"/>
              </a:ext>
            </a:extLst>
          </p:cNvPr>
          <p:cNvGrpSpPr/>
          <p:nvPr userDrawn="1"/>
        </p:nvGrpSpPr>
        <p:grpSpPr>
          <a:xfrm>
            <a:off x="155245" y="4434456"/>
            <a:ext cx="437727" cy="569144"/>
            <a:chOff x="494744" y="523692"/>
            <a:chExt cx="1225205" cy="1225205"/>
          </a:xfrm>
        </p:grpSpPr>
        <p:grpSp>
          <p:nvGrpSpPr>
            <p:cNvPr id="4" name="Group 3">
              <a:extLst>
                <a:ext uri="{FF2B5EF4-FFF2-40B4-BE49-F238E27FC236}">
                  <a16:creationId xmlns:a16="http://schemas.microsoft.com/office/drawing/2014/main" xmlns="" id="{B0B6FCCB-2873-48D7-9F61-689AAFD0759D}"/>
                </a:ext>
              </a:extLst>
            </p:cNvPr>
            <p:cNvGrpSpPr>
              <a:grpSpLocks noChangeAspect="1"/>
            </p:cNvGrpSpPr>
            <p:nvPr userDrawn="1"/>
          </p:nvGrpSpPr>
          <p:grpSpPr>
            <a:xfrm rot="18900000">
              <a:off x="707305" y="869222"/>
              <a:ext cx="471488" cy="153360"/>
              <a:chOff x="11661248" y="7789719"/>
              <a:chExt cx="1293156" cy="420621"/>
            </a:xfrm>
          </p:grpSpPr>
          <p:cxnSp>
            <p:nvCxnSpPr>
              <p:cNvPr id="9" name="Straight Connector 8">
                <a:extLst>
                  <a:ext uri="{FF2B5EF4-FFF2-40B4-BE49-F238E27FC236}">
                    <a16:creationId xmlns:a16="http://schemas.microsoft.com/office/drawing/2014/main" xmlns="" id="{2C6558BE-9FFB-4FDF-BCF4-2EF6CC679D3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405DF523-4B3D-4318-9057-158B6E93563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2D59D7E9-3091-4AF1-9DFA-33C81450E6F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 name="Group 4">
              <a:extLst>
                <a:ext uri="{FF2B5EF4-FFF2-40B4-BE49-F238E27FC236}">
                  <a16:creationId xmlns:a16="http://schemas.microsoft.com/office/drawing/2014/main" xmlns="" id="{52CA8CA8-D6AB-4C23-9A83-F2093F2B2B37}"/>
                </a:ext>
              </a:extLst>
            </p:cNvPr>
            <p:cNvGrpSpPr/>
            <p:nvPr userDrawn="1"/>
          </p:nvGrpSpPr>
          <p:grpSpPr>
            <a:xfrm>
              <a:off x="494744" y="523692"/>
              <a:ext cx="1225205" cy="1225205"/>
              <a:chOff x="12636425" y="442230"/>
              <a:chExt cx="1860336" cy="1860336"/>
            </a:xfrm>
          </p:grpSpPr>
          <p:cxnSp>
            <p:nvCxnSpPr>
              <p:cNvPr id="6" name="Straight Connector 5">
                <a:extLst>
                  <a:ext uri="{FF2B5EF4-FFF2-40B4-BE49-F238E27FC236}">
                    <a16:creationId xmlns:a16="http://schemas.microsoft.com/office/drawing/2014/main" xmlns="" id="{F89493A6-838A-4BD5-B475-5310D7B943A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xmlns="" id="{B0961BB1-F20A-499C-A61F-B37DD0BB7D8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2" name="Title 1">
            <a:extLst>
              <a:ext uri="{FF2B5EF4-FFF2-40B4-BE49-F238E27FC236}">
                <a16:creationId xmlns:a16="http://schemas.microsoft.com/office/drawing/2014/main" xmlns="" id="{95A2E29D-3F77-47BA-9B1A-2CF23D66B8B7}"/>
              </a:ext>
            </a:extLst>
          </p:cNvPr>
          <p:cNvSpPr>
            <a:spLocks noGrp="1"/>
          </p:cNvSpPr>
          <p:nvPr>
            <p:ph type="title"/>
          </p:nvPr>
        </p:nvSpPr>
        <p:spPr>
          <a:xfrm>
            <a:off x="288518" y="4594078"/>
            <a:ext cx="363171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6A4724B0-FBA7-4ADD-92BC-3DE86F7E4520}"/>
              </a:ext>
            </a:extLst>
          </p:cNvPr>
          <p:cNvSpPr>
            <a:spLocks noGrp="1"/>
          </p:cNvSpPr>
          <p:nvPr>
            <p:ph type="ftr" sz="quarter" idx="15"/>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xmlns="" id="{B7BE4E41-781C-4A22-BEA1-1F3EF84F4A37}"/>
              </a:ext>
            </a:extLst>
          </p:cNvPr>
          <p:cNvSpPr>
            <a:spLocks noGrp="1"/>
          </p:cNvSpPr>
          <p:nvPr>
            <p:ph type="sldNum" sz="quarter" idx="16"/>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84574146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19" name="Slide Number"/>
          <p:cNvSpPr txBox="1">
            <a:spLocks noGrp="1"/>
          </p:cNvSpPr>
          <p:nvPr>
            <p:ph type="sldNum" sz="quarter" idx="2"/>
          </p:nvPr>
        </p:nvSpPr>
        <p:spPr>
          <a:xfrm>
            <a:off x="4272862" y="6077215"/>
            <a:ext cx="161938" cy="214200"/>
          </a:xfrm>
          <a:prstGeom prst="rect">
            <a:avLst/>
          </a:prstGeom>
        </p:spPr>
        <p:txBody>
          <a:bodyPr/>
          <a:lstStyle/>
          <a:p>
            <a:fld id="{86CB4B4D-7CA3-9044-876B-883B54F8677D}" type="slidenum">
              <a:rPr>
                <a:solidFill>
                  <a:srgbClr val="737373"/>
                </a:solidFill>
              </a:rPr>
              <a:pPr/>
              <a:t>‹#›</a:t>
            </a:fld>
            <a:endParaRPr dirty="0">
              <a:solidFill>
                <a:srgbClr val="737373"/>
              </a:solidFill>
            </a:endParaRPr>
          </a:p>
        </p:txBody>
      </p:sp>
    </p:spTree>
    <p:extLst>
      <p:ext uri="{BB962C8B-B14F-4D97-AF65-F5344CB8AC3E}">
        <p14:creationId xmlns:p14="http://schemas.microsoft.com/office/powerpoint/2010/main" xmlns="" val="368354622"/>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7F3FE8F0-74E0-4664-9328-624E8716649A}" type="slidenum">
              <a:rPr lang="en-US" altLang="en-US"/>
              <a:pPr>
                <a:defRPr/>
              </a:pPr>
              <a:t>‹#›</a:t>
            </a:fld>
            <a:endParaRPr lang="en-US" altLang="en-US" dirty="0"/>
          </a:p>
        </p:txBody>
      </p:sp>
    </p:spTree>
    <p:extLst>
      <p:ext uri="{BB962C8B-B14F-4D97-AF65-F5344CB8AC3E}">
        <p14:creationId xmlns:p14="http://schemas.microsoft.com/office/powerpoint/2010/main" xmlns="" val="31919562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EFC1C99A-A5A6-43BD-9DD5-0BB52CB06A4F}" type="slidenum">
              <a:rPr lang="en-US" altLang="en-US"/>
              <a:pPr>
                <a:defRPr/>
              </a:pPr>
              <a:t>‹#›</a:t>
            </a:fld>
            <a:endParaRPr lang="en-US" altLang="en-US" dirty="0"/>
          </a:p>
        </p:txBody>
      </p:sp>
    </p:spTree>
    <p:extLst>
      <p:ext uri="{BB962C8B-B14F-4D97-AF65-F5344CB8AC3E}">
        <p14:creationId xmlns:p14="http://schemas.microsoft.com/office/powerpoint/2010/main" xmlns="" val="1234776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Picture Placeholder 2"/>
          <p:cNvSpPr>
            <a:spLocks noGrp="1"/>
          </p:cNvSpPr>
          <p:nvPr>
            <p:ph type="pic" idx="1"/>
          </p:nvPr>
        </p:nvSpPr>
        <p:spPr>
          <a:xfrm>
            <a:off x="3703638" y="917936"/>
            <a:ext cx="4410905" cy="4527710"/>
          </a:xfrm>
        </p:spPr>
        <p:txBody>
          <a:bodyPr/>
          <a:lstStyle>
            <a:lvl1pPr marL="0" indent="0">
              <a:buNone/>
              <a:defRPr sz="2235"/>
            </a:lvl1pPr>
            <a:lvl2pPr marL="319323" indent="0">
              <a:buNone/>
              <a:defRPr sz="1956"/>
            </a:lvl2pPr>
            <a:lvl3pPr marL="638646" indent="0">
              <a:buNone/>
              <a:defRPr sz="1677"/>
            </a:lvl3pPr>
            <a:lvl4pPr marL="957968" indent="0">
              <a:buNone/>
              <a:defRPr sz="1397"/>
            </a:lvl4pPr>
            <a:lvl5pPr marL="1277292" indent="0">
              <a:buNone/>
              <a:defRPr sz="1397"/>
            </a:lvl5pPr>
            <a:lvl6pPr marL="1596614" indent="0">
              <a:buNone/>
              <a:defRPr sz="1397"/>
            </a:lvl6pPr>
            <a:lvl7pPr marL="1915938" indent="0">
              <a:buNone/>
              <a:defRPr sz="1397"/>
            </a:lvl7pPr>
            <a:lvl8pPr marL="2235260" indent="0">
              <a:buNone/>
              <a:defRPr sz="1397"/>
            </a:lvl8pPr>
            <a:lvl9pPr marL="2554583" indent="0">
              <a:buNone/>
              <a:defRPr sz="1397"/>
            </a:lvl9pPr>
          </a:lstStyle>
          <a:p>
            <a:endParaRPr lang="en-ZA" dirty="0"/>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5204960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dirty="0"/>
          </a:p>
        </p:txBody>
      </p:sp>
      <p:sp>
        <p:nvSpPr>
          <p:cNvPr id="6" name="Holder 5"/>
          <p:cNvSpPr>
            <a:spLocks noGrp="1"/>
          </p:cNvSpPr>
          <p:nvPr>
            <p:ph type="dt" sz="half" idx="11"/>
          </p:nvPr>
        </p:nvSpPr>
        <p:spPr/>
        <p:txBody>
          <a:bodyPr/>
          <a:lstStyle>
            <a:lvl1pPr>
              <a:defRPr/>
            </a:lvl1pPr>
          </a:lstStyle>
          <a:p>
            <a:pPr>
              <a:defRPr/>
            </a:pPr>
            <a:endParaRPr lang="en-US" dirty="0"/>
          </a:p>
        </p:txBody>
      </p:sp>
      <p:sp>
        <p:nvSpPr>
          <p:cNvPr id="7" name="Holder 6"/>
          <p:cNvSpPr>
            <a:spLocks noGrp="1"/>
          </p:cNvSpPr>
          <p:nvPr>
            <p:ph type="sldNum" sz="quarter" idx="12"/>
          </p:nvPr>
        </p:nvSpPr>
        <p:spPr/>
        <p:txBody>
          <a:bodyPr/>
          <a:lstStyle>
            <a:lvl1pPr>
              <a:defRPr/>
            </a:lvl1pPr>
          </a:lstStyle>
          <a:p>
            <a:pPr>
              <a:defRPr/>
            </a:pPr>
            <a:fld id="{134989E6-DC9F-483C-9CDB-446ECCF5B159}" type="slidenum">
              <a:rPr lang="en-US" altLang="en-US"/>
              <a:pPr>
                <a:defRPr/>
              </a:pPr>
              <a:t>‹#›</a:t>
            </a:fld>
            <a:endParaRPr lang="en-US" altLang="en-US" dirty="0"/>
          </a:p>
        </p:txBody>
      </p:sp>
    </p:spTree>
    <p:extLst>
      <p:ext uri="{BB962C8B-B14F-4D97-AF65-F5344CB8AC3E}">
        <p14:creationId xmlns:p14="http://schemas.microsoft.com/office/powerpoint/2010/main" xmlns="" val="5669898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dirty="0"/>
          </a:p>
        </p:txBody>
      </p:sp>
      <p:sp>
        <p:nvSpPr>
          <p:cNvPr id="4" name="Holder 5"/>
          <p:cNvSpPr>
            <a:spLocks noGrp="1"/>
          </p:cNvSpPr>
          <p:nvPr>
            <p:ph type="dt" sz="half" idx="11"/>
          </p:nvPr>
        </p:nvSpPr>
        <p:spPr/>
        <p:txBody>
          <a:bodyPr/>
          <a:lstStyle>
            <a:lvl1pPr>
              <a:defRPr/>
            </a:lvl1pPr>
          </a:lstStyle>
          <a:p>
            <a:pPr>
              <a:defRPr/>
            </a:pPr>
            <a:endParaRPr lang="en-US" dirty="0"/>
          </a:p>
        </p:txBody>
      </p:sp>
      <p:sp>
        <p:nvSpPr>
          <p:cNvPr id="5" name="Holder 6"/>
          <p:cNvSpPr>
            <a:spLocks noGrp="1"/>
          </p:cNvSpPr>
          <p:nvPr>
            <p:ph type="sldNum" sz="quarter" idx="12"/>
          </p:nvPr>
        </p:nvSpPr>
        <p:spPr/>
        <p:txBody>
          <a:bodyPr/>
          <a:lstStyle>
            <a:lvl1pPr>
              <a:defRPr/>
            </a:lvl1pPr>
          </a:lstStyle>
          <a:p>
            <a:pPr>
              <a:defRPr/>
            </a:pPr>
            <a:fld id="{AE8142AB-EB79-413C-98F2-634ACDCE4F5E}" type="slidenum">
              <a:rPr lang="en-US" altLang="en-US"/>
              <a:pPr>
                <a:defRPr/>
              </a:pPr>
              <a:t>‹#›</a:t>
            </a:fld>
            <a:endParaRPr lang="en-US" altLang="en-US" dirty="0"/>
          </a:p>
        </p:txBody>
      </p:sp>
    </p:spTree>
    <p:extLst>
      <p:ext uri="{BB962C8B-B14F-4D97-AF65-F5344CB8AC3E}">
        <p14:creationId xmlns:p14="http://schemas.microsoft.com/office/powerpoint/2010/main" xmlns="" val="11906359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dirty="0"/>
          </a:p>
        </p:txBody>
      </p:sp>
      <p:sp>
        <p:nvSpPr>
          <p:cNvPr id="3" name="Holder 5"/>
          <p:cNvSpPr>
            <a:spLocks noGrp="1"/>
          </p:cNvSpPr>
          <p:nvPr>
            <p:ph type="dt" sz="half" idx="11"/>
          </p:nvPr>
        </p:nvSpPr>
        <p:spPr/>
        <p:txBody>
          <a:bodyPr/>
          <a:lstStyle>
            <a:lvl1pPr>
              <a:defRPr/>
            </a:lvl1pPr>
          </a:lstStyle>
          <a:p>
            <a:pPr>
              <a:defRPr/>
            </a:pPr>
            <a:endParaRPr lang="en-US" dirty="0"/>
          </a:p>
        </p:txBody>
      </p:sp>
      <p:sp>
        <p:nvSpPr>
          <p:cNvPr id="4" name="Holder 6"/>
          <p:cNvSpPr>
            <a:spLocks noGrp="1"/>
          </p:cNvSpPr>
          <p:nvPr>
            <p:ph type="sldNum" sz="quarter" idx="12"/>
          </p:nvPr>
        </p:nvSpPr>
        <p:spPr/>
        <p:txBody>
          <a:bodyPr/>
          <a:lstStyle>
            <a:lvl1pPr>
              <a:defRPr/>
            </a:lvl1pPr>
          </a:lstStyle>
          <a:p>
            <a:pPr>
              <a:defRPr/>
            </a:pPr>
            <a:fld id="{C5BC1860-76A9-44F9-B448-9A93078FEECD}" type="slidenum">
              <a:rPr lang="en-US" altLang="en-US"/>
              <a:pPr>
                <a:defRPr/>
              </a:pPr>
              <a:t>‹#›</a:t>
            </a:fld>
            <a:endParaRPr lang="en-US" altLang="en-US" dirty="0"/>
          </a:p>
        </p:txBody>
      </p:sp>
    </p:spTree>
    <p:extLst>
      <p:ext uri="{BB962C8B-B14F-4D97-AF65-F5344CB8AC3E}">
        <p14:creationId xmlns:p14="http://schemas.microsoft.com/office/powerpoint/2010/main" xmlns="" val="29420048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53415" y="1545570"/>
            <a:ext cx="7405370" cy="1715771"/>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34312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a:xfrm>
            <a:off x="436035" y="5926253"/>
            <a:ext cx="2003636" cy="245580"/>
          </a:xfrm>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a:xfrm>
            <a:off x="2961851" y="5926253"/>
            <a:ext cx="2788500" cy="245580"/>
          </a:xfrm>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a:xfrm>
            <a:off x="6272529" y="5926253"/>
            <a:ext cx="2003636" cy="245580"/>
          </a:xfrm>
        </p:spPr>
        <p:txBody>
          <a:bodyPr/>
          <a:lstStyle>
            <a:lvl1pPr defTabSz="849591">
              <a:defRPr/>
            </a:lvl1pPr>
          </a:lstStyle>
          <a:p>
            <a:pPr>
              <a:defRPr/>
            </a:pPr>
            <a:fld id="{03326C43-BAB2-4FC7-9EBB-52A045394284}" type="slidenum">
              <a:rPr lang="en-ZA"/>
              <a:pPr>
                <a:defRPr/>
              </a:pPr>
              <a:t>‹#›</a:t>
            </a:fld>
            <a:endParaRPr lang="en-ZA" dirty="0"/>
          </a:p>
        </p:txBody>
      </p:sp>
    </p:spTree>
    <p:extLst>
      <p:ext uri="{BB962C8B-B14F-4D97-AF65-F5344CB8AC3E}">
        <p14:creationId xmlns:p14="http://schemas.microsoft.com/office/powerpoint/2010/main" xmlns="" val="28856626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7BD57E12-473C-45C4-8128-C75AFF3FD4A3}" type="slidenum">
              <a:rPr lang="en-US" altLang="en-US"/>
              <a:pPr>
                <a:defRPr/>
              </a:pPr>
              <a:t>‹#›</a:t>
            </a:fld>
            <a:endParaRPr lang="en-US" altLang="en-US" dirty="0"/>
          </a:p>
        </p:txBody>
      </p:sp>
    </p:spTree>
    <p:extLst>
      <p:ext uri="{BB962C8B-B14F-4D97-AF65-F5344CB8AC3E}">
        <p14:creationId xmlns:p14="http://schemas.microsoft.com/office/powerpoint/2010/main" xmlns="" val="39032093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6757DF30-2317-4A1D-86CC-8BFEF4250C95}" type="slidenum">
              <a:rPr lang="en-US" altLang="en-US"/>
              <a:pPr>
                <a:defRPr/>
              </a:pPr>
              <a:t>‹#›</a:t>
            </a:fld>
            <a:endParaRPr lang="en-US" altLang="en-US" dirty="0"/>
          </a:p>
        </p:txBody>
      </p:sp>
    </p:spTree>
    <p:extLst>
      <p:ext uri="{BB962C8B-B14F-4D97-AF65-F5344CB8AC3E}">
        <p14:creationId xmlns:p14="http://schemas.microsoft.com/office/powerpoint/2010/main" xmlns="" val="233750824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dirty="0"/>
          </a:p>
        </p:txBody>
      </p:sp>
      <p:sp>
        <p:nvSpPr>
          <p:cNvPr id="6" name="Holder 5"/>
          <p:cNvSpPr>
            <a:spLocks noGrp="1"/>
          </p:cNvSpPr>
          <p:nvPr>
            <p:ph type="dt" sz="half" idx="11"/>
          </p:nvPr>
        </p:nvSpPr>
        <p:spPr/>
        <p:txBody>
          <a:bodyPr/>
          <a:lstStyle>
            <a:lvl1pPr>
              <a:defRPr/>
            </a:lvl1pPr>
          </a:lstStyle>
          <a:p>
            <a:pPr>
              <a:defRPr/>
            </a:pPr>
            <a:endParaRPr lang="en-US" dirty="0"/>
          </a:p>
        </p:txBody>
      </p:sp>
      <p:sp>
        <p:nvSpPr>
          <p:cNvPr id="7" name="Holder 6"/>
          <p:cNvSpPr>
            <a:spLocks noGrp="1"/>
          </p:cNvSpPr>
          <p:nvPr>
            <p:ph type="sldNum" sz="quarter" idx="12"/>
          </p:nvPr>
        </p:nvSpPr>
        <p:spPr/>
        <p:txBody>
          <a:bodyPr/>
          <a:lstStyle>
            <a:lvl1pPr>
              <a:defRPr/>
            </a:lvl1pPr>
          </a:lstStyle>
          <a:p>
            <a:pPr>
              <a:defRPr/>
            </a:pPr>
            <a:fld id="{9768A2ED-4538-436E-9DCE-DA3231FF9BB0}" type="slidenum">
              <a:rPr lang="en-US" altLang="en-US"/>
              <a:pPr>
                <a:defRPr/>
              </a:pPr>
              <a:t>‹#›</a:t>
            </a:fld>
            <a:endParaRPr lang="en-US" altLang="en-US" dirty="0"/>
          </a:p>
        </p:txBody>
      </p:sp>
    </p:spTree>
    <p:extLst>
      <p:ext uri="{BB962C8B-B14F-4D97-AF65-F5344CB8AC3E}">
        <p14:creationId xmlns:p14="http://schemas.microsoft.com/office/powerpoint/2010/main" xmlns="" val="354133869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dirty="0"/>
          </a:p>
        </p:txBody>
      </p:sp>
      <p:sp>
        <p:nvSpPr>
          <p:cNvPr id="4" name="Holder 5"/>
          <p:cNvSpPr>
            <a:spLocks noGrp="1"/>
          </p:cNvSpPr>
          <p:nvPr>
            <p:ph type="dt" sz="half" idx="11"/>
          </p:nvPr>
        </p:nvSpPr>
        <p:spPr/>
        <p:txBody>
          <a:bodyPr/>
          <a:lstStyle>
            <a:lvl1pPr>
              <a:defRPr/>
            </a:lvl1pPr>
          </a:lstStyle>
          <a:p>
            <a:pPr>
              <a:defRPr/>
            </a:pPr>
            <a:endParaRPr lang="en-US" dirty="0"/>
          </a:p>
        </p:txBody>
      </p:sp>
      <p:sp>
        <p:nvSpPr>
          <p:cNvPr id="5" name="Holder 6"/>
          <p:cNvSpPr>
            <a:spLocks noGrp="1"/>
          </p:cNvSpPr>
          <p:nvPr>
            <p:ph type="sldNum" sz="quarter" idx="12"/>
          </p:nvPr>
        </p:nvSpPr>
        <p:spPr/>
        <p:txBody>
          <a:bodyPr/>
          <a:lstStyle>
            <a:lvl1pPr>
              <a:defRPr/>
            </a:lvl1pPr>
          </a:lstStyle>
          <a:p>
            <a:pPr>
              <a:defRPr/>
            </a:pPr>
            <a:fld id="{9AE6E665-6C29-4C57-BDFC-83CD23F53329}" type="slidenum">
              <a:rPr lang="en-US" altLang="en-US"/>
              <a:pPr>
                <a:defRPr/>
              </a:pPr>
              <a:t>‹#›</a:t>
            </a:fld>
            <a:endParaRPr lang="en-US" altLang="en-US" dirty="0"/>
          </a:p>
        </p:txBody>
      </p:sp>
    </p:spTree>
    <p:extLst>
      <p:ext uri="{BB962C8B-B14F-4D97-AF65-F5344CB8AC3E}">
        <p14:creationId xmlns:p14="http://schemas.microsoft.com/office/powerpoint/2010/main" xmlns="" val="30754177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dirty="0"/>
          </a:p>
        </p:txBody>
      </p:sp>
      <p:sp>
        <p:nvSpPr>
          <p:cNvPr id="3" name="Holder 5"/>
          <p:cNvSpPr>
            <a:spLocks noGrp="1"/>
          </p:cNvSpPr>
          <p:nvPr>
            <p:ph type="dt" sz="half" idx="11"/>
          </p:nvPr>
        </p:nvSpPr>
        <p:spPr/>
        <p:txBody>
          <a:bodyPr/>
          <a:lstStyle>
            <a:lvl1pPr>
              <a:defRPr/>
            </a:lvl1pPr>
          </a:lstStyle>
          <a:p>
            <a:pPr>
              <a:defRPr/>
            </a:pPr>
            <a:endParaRPr lang="en-US" dirty="0"/>
          </a:p>
        </p:txBody>
      </p:sp>
      <p:sp>
        <p:nvSpPr>
          <p:cNvPr id="4" name="Holder 6"/>
          <p:cNvSpPr>
            <a:spLocks noGrp="1"/>
          </p:cNvSpPr>
          <p:nvPr>
            <p:ph type="sldNum" sz="quarter" idx="12"/>
          </p:nvPr>
        </p:nvSpPr>
        <p:spPr/>
        <p:txBody>
          <a:bodyPr/>
          <a:lstStyle>
            <a:lvl1pPr>
              <a:defRPr/>
            </a:lvl1pPr>
          </a:lstStyle>
          <a:p>
            <a:pPr>
              <a:defRPr/>
            </a:pPr>
            <a:fld id="{E94A1117-0BF9-4CA8-8CF1-6483981F5E26}" type="slidenum">
              <a:rPr lang="en-US" altLang="en-US"/>
              <a:pPr>
                <a:defRPr/>
              </a:pPr>
              <a:t>‹#›</a:t>
            </a:fld>
            <a:endParaRPr lang="en-US" altLang="en-US" dirty="0"/>
          </a:p>
        </p:txBody>
      </p:sp>
    </p:spTree>
    <p:extLst>
      <p:ext uri="{BB962C8B-B14F-4D97-AF65-F5344CB8AC3E}">
        <p14:creationId xmlns:p14="http://schemas.microsoft.com/office/powerpoint/2010/main" xmlns="" val="37151674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53415" y="1545570"/>
            <a:ext cx="7405370" cy="1715771"/>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34312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a:xfrm>
            <a:off x="436035" y="5926253"/>
            <a:ext cx="2003636" cy="245580"/>
          </a:xfrm>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a:xfrm>
            <a:off x="2961851" y="5926253"/>
            <a:ext cx="2788500" cy="245580"/>
          </a:xfrm>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a:xfrm>
            <a:off x="6272529" y="5926253"/>
            <a:ext cx="2003636" cy="245580"/>
          </a:xfrm>
        </p:spPr>
        <p:txBody>
          <a:bodyPr/>
          <a:lstStyle>
            <a:lvl1pPr defTabSz="849591">
              <a:defRPr/>
            </a:lvl1pPr>
          </a:lstStyle>
          <a:p>
            <a:pPr>
              <a:defRPr/>
            </a:pPr>
            <a:fld id="{7E837958-0363-4286-9C1A-268508370921}" type="slidenum">
              <a:rPr lang="en-ZA"/>
              <a:pPr>
                <a:defRPr/>
              </a:pPr>
              <a:t>‹#›</a:t>
            </a:fld>
            <a:endParaRPr lang="en-ZA" dirty="0"/>
          </a:p>
        </p:txBody>
      </p:sp>
    </p:spTree>
    <p:extLst>
      <p:ext uri="{BB962C8B-B14F-4D97-AF65-F5344CB8AC3E}">
        <p14:creationId xmlns:p14="http://schemas.microsoft.com/office/powerpoint/2010/main" xmlns="" val="28346513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79" Type="http://schemas.openxmlformats.org/officeDocument/2006/relationships/tags" Target="../tags/tag4.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vmlDrawing" Target="../drawings/vmlDrawing2.vml"/><Relationship Id="rId81"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oleObject" Target="../embeddings/oleObject2.bin"/><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0.xml"/><Relationship Id="rId7" Type="http://schemas.openxmlformats.org/officeDocument/2006/relationships/theme" Target="../theme/theme3.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4"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theme" Target="../theme/theme4.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5.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xmlns="" val="1783394535"/>
              </p:ext>
            </p:extLst>
          </p:nvPr>
        </p:nvGraphicFramePr>
        <p:xfrm>
          <a:off x="1588" y="1588"/>
          <a:ext cx="1588" cy="1588"/>
        </p:xfrm>
        <a:graphic>
          <a:graphicData uri="http://schemas.openxmlformats.org/presentationml/2006/ole">
            <p:oleObj spid="_x0000_s1352" name="think-cell Slide" r:id="rId16" imgW="270" imgH="270" progId="">
              <p:embed/>
            </p:oleObj>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74"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598814" y="338644"/>
            <a:ext cx="7514574" cy="123207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98814" y="1696092"/>
            <a:ext cx="7514574" cy="40435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598813" y="5906773"/>
            <a:ext cx="1960274" cy="338642"/>
          </a:xfrm>
          <a:prstGeom prst="rect">
            <a:avLst/>
          </a:prstGeom>
        </p:spPr>
        <p:txBody>
          <a:bodyPr vert="horz" lIns="91440" tIns="45720" rIns="91440" bIns="45720" rtlCol="0" anchor="ctr"/>
          <a:lstStyle>
            <a:lvl1pPr algn="l">
              <a:defRPr sz="838">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2885607" y="5906773"/>
            <a:ext cx="2940987" cy="338642"/>
          </a:xfrm>
          <a:prstGeom prst="rect">
            <a:avLst/>
          </a:prstGeom>
        </p:spPr>
        <p:txBody>
          <a:bodyPr vert="horz" lIns="91440" tIns="45720" rIns="91440" bIns="45720" rtlCol="0" anchor="ctr"/>
          <a:lstStyle>
            <a:lvl1pPr algn="ctr">
              <a:defRPr sz="838">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153114" y="5906773"/>
            <a:ext cx="1960274" cy="338642"/>
          </a:xfrm>
          <a:prstGeom prst="rect">
            <a:avLst/>
          </a:prstGeom>
        </p:spPr>
        <p:txBody>
          <a:bodyPr vert="horz" lIns="91440" tIns="45720" rIns="91440" bIns="45720" rtlCol="0" anchor="ctr"/>
          <a:lstStyle>
            <a:lvl1pPr algn="r">
              <a:defRPr sz="838">
                <a:solidFill>
                  <a:schemeClr val="tx1">
                    <a:tint val="75000"/>
                  </a:schemeClr>
                </a:solidFill>
              </a:defRPr>
            </a:lvl1p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0142827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638646" rtl="0" eaLnBrk="1" latinLnBrk="0" hangingPunct="1">
        <a:lnSpc>
          <a:spcPct val="90000"/>
        </a:lnSpc>
        <a:spcBef>
          <a:spcPct val="0"/>
        </a:spcBef>
        <a:buNone/>
        <a:defRPr sz="3074" kern="1200">
          <a:solidFill>
            <a:schemeClr val="tx1"/>
          </a:solidFill>
          <a:latin typeface="+mj-lt"/>
          <a:ea typeface="+mj-ea"/>
          <a:cs typeface="+mj-cs"/>
        </a:defRPr>
      </a:lvl1pPr>
    </p:titleStyle>
    <p:bodyStyle>
      <a:lvl1pPr marL="159662" indent="-159662" algn="l" defTabSz="638646" rtl="0" eaLnBrk="1" latinLnBrk="0" hangingPunct="1">
        <a:lnSpc>
          <a:spcPct val="90000"/>
        </a:lnSpc>
        <a:spcBef>
          <a:spcPts val="698"/>
        </a:spcBef>
        <a:buFont typeface="Arial" panose="020B0604020202020204" pitchFamily="34" charset="0"/>
        <a:buChar char="•"/>
        <a:defRPr sz="1956" kern="1200">
          <a:solidFill>
            <a:schemeClr val="tx1"/>
          </a:solidFill>
          <a:latin typeface="+mn-lt"/>
          <a:ea typeface="+mn-ea"/>
          <a:cs typeface="+mn-cs"/>
        </a:defRPr>
      </a:lvl1pPr>
      <a:lvl2pPr marL="478985" indent="-159662" algn="l" defTabSz="638646" rtl="0" eaLnBrk="1" latinLnBrk="0" hangingPunct="1">
        <a:lnSpc>
          <a:spcPct val="90000"/>
        </a:lnSpc>
        <a:spcBef>
          <a:spcPts val="349"/>
        </a:spcBef>
        <a:buFont typeface="Arial" panose="020B0604020202020204" pitchFamily="34" charset="0"/>
        <a:buChar char="•"/>
        <a:defRPr sz="1677" kern="1200">
          <a:solidFill>
            <a:schemeClr val="tx1"/>
          </a:solidFill>
          <a:latin typeface="+mn-lt"/>
          <a:ea typeface="+mn-ea"/>
          <a:cs typeface="+mn-cs"/>
        </a:defRPr>
      </a:lvl2pPr>
      <a:lvl3pPr marL="798307" indent="-159662" algn="l" defTabSz="638646" rtl="0" eaLnBrk="1" latinLnBrk="0" hangingPunct="1">
        <a:lnSpc>
          <a:spcPct val="90000"/>
        </a:lnSpc>
        <a:spcBef>
          <a:spcPts val="349"/>
        </a:spcBef>
        <a:buFont typeface="Arial" panose="020B0604020202020204" pitchFamily="34" charset="0"/>
        <a:buChar char="•"/>
        <a:defRPr sz="1397" kern="1200">
          <a:solidFill>
            <a:schemeClr val="tx1"/>
          </a:solidFill>
          <a:latin typeface="+mn-lt"/>
          <a:ea typeface="+mn-ea"/>
          <a:cs typeface="+mn-cs"/>
        </a:defRPr>
      </a:lvl3pPr>
      <a:lvl4pPr marL="1117629"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4pPr>
      <a:lvl5pPr marL="1436953"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5pPr>
      <a:lvl6pPr marL="1756276"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6pPr>
      <a:lvl7pPr marL="2075598"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7pPr>
      <a:lvl8pPr marL="2394922"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8pPr>
      <a:lvl9pPr marL="2714245"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9pPr>
    </p:bodyStyle>
    <p:otherStyle>
      <a:defPPr>
        <a:defRPr lang="en-US"/>
      </a:defPPr>
      <a:lvl1pPr marL="0" algn="l" defTabSz="638646" rtl="0" eaLnBrk="1" latinLnBrk="0" hangingPunct="1">
        <a:defRPr sz="1257" kern="1200">
          <a:solidFill>
            <a:schemeClr val="tx1"/>
          </a:solidFill>
          <a:latin typeface="+mn-lt"/>
          <a:ea typeface="+mn-ea"/>
          <a:cs typeface="+mn-cs"/>
        </a:defRPr>
      </a:lvl1pPr>
      <a:lvl2pPr marL="319323" algn="l" defTabSz="638646" rtl="0" eaLnBrk="1" latinLnBrk="0" hangingPunct="1">
        <a:defRPr sz="1257" kern="1200">
          <a:solidFill>
            <a:schemeClr val="tx1"/>
          </a:solidFill>
          <a:latin typeface="+mn-lt"/>
          <a:ea typeface="+mn-ea"/>
          <a:cs typeface="+mn-cs"/>
        </a:defRPr>
      </a:lvl2pPr>
      <a:lvl3pPr marL="638646" algn="l" defTabSz="638646" rtl="0" eaLnBrk="1" latinLnBrk="0" hangingPunct="1">
        <a:defRPr sz="1257" kern="1200">
          <a:solidFill>
            <a:schemeClr val="tx1"/>
          </a:solidFill>
          <a:latin typeface="+mn-lt"/>
          <a:ea typeface="+mn-ea"/>
          <a:cs typeface="+mn-cs"/>
        </a:defRPr>
      </a:lvl3pPr>
      <a:lvl4pPr marL="957968" algn="l" defTabSz="638646" rtl="0" eaLnBrk="1" latinLnBrk="0" hangingPunct="1">
        <a:defRPr sz="1257" kern="1200">
          <a:solidFill>
            <a:schemeClr val="tx1"/>
          </a:solidFill>
          <a:latin typeface="+mn-lt"/>
          <a:ea typeface="+mn-ea"/>
          <a:cs typeface="+mn-cs"/>
        </a:defRPr>
      </a:lvl4pPr>
      <a:lvl5pPr marL="1277292" algn="l" defTabSz="638646" rtl="0" eaLnBrk="1" latinLnBrk="0" hangingPunct="1">
        <a:defRPr sz="1257" kern="1200">
          <a:solidFill>
            <a:schemeClr val="tx1"/>
          </a:solidFill>
          <a:latin typeface="+mn-lt"/>
          <a:ea typeface="+mn-ea"/>
          <a:cs typeface="+mn-cs"/>
        </a:defRPr>
      </a:lvl5pPr>
      <a:lvl6pPr marL="1596614" algn="l" defTabSz="638646" rtl="0" eaLnBrk="1" latinLnBrk="0" hangingPunct="1">
        <a:defRPr sz="1257" kern="1200">
          <a:solidFill>
            <a:schemeClr val="tx1"/>
          </a:solidFill>
          <a:latin typeface="+mn-lt"/>
          <a:ea typeface="+mn-ea"/>
          <a:cs typeface="+mn-cs"/>
        </a:defRPr>
      </a:lvl6pPr>
      <a:lvl7pPr marL="1915938" algn="l" defTabSz="638646" rtl="0" eaLnBrk="1" latinLnBrk="0" hangingPunct="1">
        <a:defRPr sz="1257" kern="1200">
          <a:solidFill>
            <a:schemeClr val="tx1"/>
          </a:solidFill>
          <a:latin typeface="+mn-lt"/>
          <a:ea typeface="+mn-ea"/>
          <a:cs typeface="+mn-cs"/>
        </a:defRPr>
      </a:lvl7pPr>
      <a:lvl8pPr marL="2235260" algn="l" defTabSz="638646" rtl="0" eaLnBrk="1" latinLnBrk="0" hangingPunct="1">
        <a:defRPr sz="1257" kern="1200">
          <a:solidFill>
            <a:schemeClr val="tx1"/>
          </a:solidFill>
          <a:latin typeface="+mn-lt"/>
          <a:ea typeface="+mn-ea"/>
          <a:cs typeface="+mn-cs"/>
        </a:defRPr>
      </a:lvl8pPr>
      <a:lvl9pPr marL="2554583" algn="l" defTabSz="638646" rtl="0" eaLnBrk="1" latinLnBrk="0" hangingPunct="1">
        <a:defRPr sz="125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xmlns="" val="2927272073"/>
              </p:ext>
            </p:extLst>
          </p:nvPr>
        </p:nvGraphicFramePr>
        <p:xfrm>
          <a:off x="1588" y="1588"/>
          <a:ext cx="1588" cy="1588"/>
        </p:xfrm>
        <a:graphic>
          <a:graphicData uri="http://schemas.openxmlformats.org/presentationml/2006/ole">
            <p:oleObj spid="_x0000_s23847" name="think-cell Slide" r:id="rId80" imgW="270" imgH="270" progId="">
              <p:embed/>
            </p:oleObj>
          </a:graphicData>
        </a:graphic>
      </p:graphicFrame>
      <p:sp>
        <p:nvSpPr>
          <p:cNvPr id="8" name="Title Placeholder 1"/>
          <p:cNvSpPr>
            <a:spLocks noGrp="1"/>
          </p:cNvSpPr>
          <p:nvPr>
            <p:ph type="title"/>
          </p:nvPr>
        </p:nvSpPr>
        <p:spPr>
          <a:xfrm>
            <a:off x="288517" y="376381"/>
            <a:ext cx="8103140" cy="584970"/>
          </a:xfrm>
          <a:prstGeom prst="rect">
            <a:avLst/>
          </a:prstGeom>
        </p:spPr>
        <p:txBody>
          <a:bodyPr vert="horz" wrap="square" lIns="180000" tIns="93600" rIns="180000" bIns="93600" rtlCol="0" anchor="t" anchorCtr="0">
            <a:spAutoFit/>
          </a:bodyPr>
          <a:lstStyle/>
          <a:p>
            <a:pPr lvl="0" algn="l" defTabSz="649343">
              <a:lnSpc>
                <a:spcPct val="100000"/>
              </a:lnSpc>
            </a:pPr>
            <a:endParaRPr lang="en-GB" dirty="0"/>
          </a:p>
        </p:txBody>
      </p:sp>
      <p:sp>
        <p:nvSpPr>
          <p:cNvPr id="9" name="Text Placeholder 2"/>
          <p:cNvSpPr>
            <a:spLocks noGrp="1"/>
          </p:cNvSpPr>
          <p:nvPr>
            <p:ph type="body" idx="1"/>
          </p:nvPr>
        </p:nvSpPr>
        <p:spPr>
          <a:xfrm>
            <a:off x="288517" y="1207668"/>
            <a:ext cx="8103140" cy="4484559"/>
          </a:xfrm>
          <a:prstGeom prst="rect">
            <a:avLst/>
          </a:prstGeom>
        </p:spPr>
        <p:txBody>
          <a:bodyPr vert="horz" lIns="180000" tIns="93600" rIns="180000" bIns="9360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1"/>
          <p:cNvSpPr>
            <a:spLocks noGrp="1"/>
          </p:cNvSpPr>
          <p:nvPr>
            <p:ph type="ftr" sz="quarter" idx="3"/>
          </p:nvPr>
        </p:nvSpPr>
        <p:spPr>
          <a:xfrm>
            <a:off x="288518" y="5960817"/>
            <a:ext cx="7576473" cy="234123"/>
          </a:xfrm>
          <a:prstGeom prst="rect">
            <a:avLst/>
          </a:prstGeom>
        </p:spPr>
        <p:txBody>
          <a:bodyPr lIns="180000" tIns="93600" rIns="180000" bIns="93600"/>
          <a:lstStyle>
            <a:lvl1pPr>
              <a:defRPr>
                <a:solidFill>
                  <a:schemeClr val="tx2"/>
                </a:solidFill>
              </a:defRPr>
            </a:lvl1pPr>
          </a:lstStyle>
          <a:p>
            <a:pPr defTabSz="163358"/>
            <a:endParaRPr lang="en-GB" sz="643" dirty="0">
              <a:solidFill>
                <a:srgbClr val="737373"/>
              </a:solidFill>
            </a:endParaRPr>
          </a:p>
        </p:txBody>
      </p:sp>
      <p:sp>
        <p:nvSpPr>
          <p:cNvPr id="11" name="Slide Number Placeholder 2"/>
          <p:cNvSpPr>
            <a:spLocks noGrp="1"/>
          </p:cNvSpPr>
          <p:nvPr>
            <p:ph type="sldNum" sz="quarter" idx="4"/>
          </p:nvPr>
        </p:nvSpPr>
        <p:spPr>
          <a:xfrm>
            <a:off x="7864991" y="5960817"/>
            <a:ext cx="526666" cy="234123"/>
          </a:xfrm>
          <a:prstGeom prst="rect">
            <a:avLst/>
          </a:prstGeom>
        </p:spPr>
        <p:txBody>
          <a:bodyPr lIns="180000" tIns="93600" rIns="180000" bIns="93600"/>
          <a:lstStyle>
            <a:lvl1pPr algn="r">
              <a:defRPr>
                <a:solidFill>
                  <a:schemeClr val="tx2"/>
                </a:solidFill>
              </a:defRPr>
            </a:lvl1pPr>
          </a:lstStyle>
          <a:p>
            <a:pPr defTabSz="163358"/>
            <a:fld id="{0643FD91-E2F4-430C-9968-CE1C2F22CA4A}" type="slidenum">
              <a:rPr lang="en-GB" sz="643" smtClean="0">
                <a:solidFill>
                  <a:srgbClr val="737373"/>
                </a:solidFill>
              </a:rPr>
              <a:pPr defTabSz="163358"/>
              <a:t>‹#›</a:t>
            </a:fld>
            <a:endParaRPr lang="en-GB" sz="643" dirty="0">
              <a:solidFill>
                <a:srgbClr val="737373"/>
              </a:solidFill>
            </a:endParaRPr>
          </a:p>
        </p:txBody>
      </p:sp>
      <p:pic>
        <p:nvPicPr>
          <p:cNvPr id="7" name="Picture 6"/>
          <p:cNvPicPr/>
          <p:nvPr userDrawn="1"/>
        </p:nvPicPr>
        <p:blipFill rotWithShape="1">
          <a:blip r:embed="rId81" cstate="print">
            <a:extLst>
              <a:ext uri="{28A0092B-C50C-407E-A947-70E740481C1C}">
                <a14:useLocalDpi xmlns:a14="http://schemas.microsoft.com/office/drawing/2010/main" xmlns="" val="0"/>
              </a:ext>
            </a:extLst>
          </a:blip>
          <a:srcRect t="16775" r="5346" b="8696"/>
          <a:stretch/>
        </p:blipFill>
        <p:spPr bwMode="auto">
          <a:xfrm>
            <a:off x="435611" y="5736919"/>
            <a:ext cx="1581080" cy="576199"/>
          </a:xfrm>
          <a:prstGeom prst="rect">
            <a:avLst/>
          </a:prstGeom>
          <a:noFill/>
          <a:ln>
            <a:noFill/>
          </a:ln>
        </p:spPr>
      </p:pic>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6721857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 id="2147483940" r:id="rId64"/>
    <p:sldLayoutId id="2147483941" r:id="rId65"/>
    <p:sldLayoutId id="2147483942" r:id="rId66"/>
    <p:sldLayoutId id="2147483943" r:id="rId67"/>
    <p:sldLayoutId id="2147483944" r:id="rId68"/>
    <p:sldLayoutId id="2147483945" r:id="rId69"/>
    <p:sldLayoutId id="2147483946" r:id="rId70"/>
    <p:sldLayoutId id="2147483947" r:id="rId71"/>
    <p:sldLayoutId id="2147483948" r:id="rId72"/>
    <p:sldLayoutId id="2147483949" r:id="rId73"/>
    <p:sldLayoutId id="2147483950" r:id="rId74"/>
    <p:sldLayoutId id="2147483951" r:id="rId75"/>
    <p:sldLayoutId id="2147483952" r:id="rId76"/>
  </p:sldLayoutIdLst>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hf hdr="0" ftr="0" dt="0"/>
  <p:txStyles>
    <p:titleStyle>
      <a:lvl1pPr algn="ctr" defTabSz="653496" rtl="0" eaLnBrk="1" latinLnBrk="0" hangingPunct="1">
        <a:spcBef>
          <a:spcPct val="0"/>
        </a:spcBef>
        <a:buNone/>
        <a:defRPr lang="en-GB" sz="2573" b="1" kern="1200" cap="all" spc="14" baseline="0" dirty="0">
          <a:solidFill>
            <a:schemeClr val="tx1"/>
          </a:solidFill>
          <a:latin typeface="+mj-lt"/>
          <a:ea typeface="+mj-ea"/>
          <a:cs typeface="+mj-cs"/>
        </a:defRPr>
      </a:lvl1pPr>
    </p:titleStyle>
    <p:bodyStyle>
      <a:lvl1pPr marL="245061" indent="-245061" algn="l" defTabSz="653496" rtl="0" eaLnBrk="1" latinLnBrk="0" hangingPunct="1">
        <a:spcBef>
          <a:spcPct val="20000"/>
        </a:spcBef>
        <a:buFont typeface="Arial" pitchFamily="34" charset="0"/>
        <a:buChar char="•"/>
        <a:defRPr sz="2287" kern="1200" spc="14" baseline="0">
          <a:solidFill>
            <a:schemeClr val="tx1"/>
          </a:solidFill>
          <a:latin typeface="+mn-lt"/>
          <a:ea typeface="+mn-ea"/>
          <a:cs typeface="+mn-cs"/>
        </a:defRPr>
      </a:lvl1pPr>
      <a:lvl2pPr marL="530965" indent="-204217" algn="l" defTabSz="653496" rtl="0" eaLnBrk="1" latinLnBrk="0" hangingPunct="1">
        <a:spcBef>
          <a:spcPct val="20000"/>
        </a:spcBef>
        <a:buFont typeface="Arial" pitchFamily="34" charset="0"/>
        <a:buChar char="–"/>
        <a:defRPr sz="2001" kern="1200" spc="14" baseline="0">
          <a:solidFill>
            <a:schemeClr val="tx1"/>
          </a:solidFill>
          <a:latin typeface="+mn-lt"/>
          <a:ea typeface="+mn-ea"/>
          <a:cs typeface="+mn-cs"/>
        </a:defRPr>
      </a:lvl2pPr>
      <a:lvl3pPr marL="816870" indent="-163374" algn="l" defTabSz="653496" rtl="0" eaLnBrk="1" latinLnBrk="0" hangingPunct="1">
        <a:spcBef>
          <a:spcPct val="20000"/>
        </a:spcBef>
        <a:buFont typeface="Arial" pitchFamily="34" charset="0"/>
        <a:buChar char="•"/>
        <a:defRPr sz="1715" kern="1200" spc="14" baseline="0">
          <a:solidFill>
            <a:schemeClr val="tx1"/>
          </a:solidFill>
          <a:latin typeface="+mn-lt"/>
          <a:ea typeface="+mn-ea"/>
          <a:cs typeface="+mn-cs"/>
        </a:defRPr>
      </a:lvl3pPr>
      <a:lvl4pPr marL="1143617"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4pPr>
      <a:lvl5pPr marL="1470365"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5pPr>
      <a:lvl6pPr marL="1797113"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6pPr>
      <a:lvl7pPr marL="2123861"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7pPr>
      <a:lvl8pPr marL="2450609"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8pPr>
      <a:lvl9pPr marL="2777356"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9pPr>
    </p:bodyStyle>
    <p:otherStyle>
      <a:defPPr>
        <a:defRPr lang="en-US"/>
      </a:defPPr>
      <a:lvl1pPr marL="0" algn="l" defTabSz="653496" rtl="0" eaLnBrk="1" latinLnBrk="0" hangingPunct="1">
        <a:defRPr sz="1286" kern="1200">
          <a:solidFill>
            <a:schemeClr val="tx1"/>
          </a:solidFill>
          <a:latin typeface="+mn-lt"/>
          <a:ea typeface="+mn-ea"/>
          <a:cs typeface="+mn-cs"/>
        </a:defRPr>
      </a:lvl1pPr>
      <a:lvl2pPr marL="326748" algn="l" defTabSz="653496" rtl="0" eaLnBrk="1" latinLnBrk="0" hangingPunct="1">
        <a:defRPr sz="1286" kern="1200">
          <a:solidFill>
            <a:schemeClr val="tx1"/>
          </a:solidFill>
          <a:latin typeface="+mn-lt"/>
          <a:ea typeface="+mn-ea"/>
          <a:cs typeface="+mn-cs"/>
        </a:defRPr>
      </a:lvl2pPr>
      <a:lvl3pPr marL="653496" algn="l" defTabSz="653496" rtl="0" eaLnBrk="1" latinLnBrk="0" hangingPunct="1">
        <a:defRPr sz="1286" kern="1200">
          <a:solidFill>
            <a:schemeClr val="tx1"/>
          </a:solidFill>
          <a:latin typeface="+mn-lt"/>
          <a:ea typeface="+mn-ea"/>
          <a:cs typeface="+mn-cs"/>
        </a:defRPr>
      </a:lvl3pPr>
      <a:lvl4pPr marL="980243" algn="l" defTabSz="653496" rtl="0" eaLnBrk="1" latinLnBrk="0" hangingPunct="1">
        <a:defRPr sz="1286" kern="1200">
          <a:solidFill>
            <a:schemeClr val="tx1"/>
          </a:solidFill>
          <a:latin typeface="+mn-lt"/>
          <a:ea typeface="+mn-ea"/>
          <a:cs typeface="+mn-cs"/>
        </a:defRPr>
      </a:lvl4pPr>
      <a:lvl5pPr marL="1306991" algn="l" defTabSz="653496" rtl="0" eaLnBrk="1" latinLnBrk="0" hangingPunct="1">
        <a:defRPr sz="1286" kern="1200">
          <a:solidFill>
            <a:schemeClr val="tx1"/>
          </a:solidFill>
          <a:latin typeface="+mn-lt"/>
          <a:ea typeface="+mn-ea"/>
          <a:cs typeface="+mn-cs"/>
        </a:defRPr>
      </a:lvl5pPr>
      <a:lvl6pPr marL="1633739" algn="l" defTabSz="653496" rtl="0" eaLnBrk="1" latinLnBrk="0" hangingPunct="1">
        <a:defRPr sz="1286" kern="1200">
          <a:solidFill>
            <a:schemeClr val="tx1"/>
          </a:solidFill>
          <a:latin typeface="+mn-lt"/>
          <a:ea typeface="+mn-ea"/>
          <a:cs typeface="+mn-cs"/>
        </a:defRPr>
      </a:lvl6pPr>
      <a:lvl7pPr marL="1960487" algn="l" defTabSz="653496" rtl="0" eaLnBrk="1" latinLnBrk="0" hangingPunct="1">
        <a:defRPr sz="1286" kern="1200">
          <a:solidFill>
            <a:schemeClr val="tx1"/>
          </a:solidFill>
          <a:latin typeface="+mn-lt"/>
          <a:ea typeface="+mn-ea"/>
          <a:cs typeface="+mn-cs"/>
        </a:defRPr>
      </a:lvl7pPr>
      <a:lvl8pPr marL="2287235" algn="l" defTabSz="653496" rtl="0" eaLnBrk="1" latinLnBrk="0" hangingPunct="1">
        <a:defRPr sz="1286" kern="1200">
          <a:solidFill>
            <a:schemeClr val="tx1"/>
          </a:solidFill>
          <a:latin typeface="+mn-lt"/>
          <a:ea typeface="+mn-ea"/>
          <a:cs typeface="+mn-cs"/>
        </a:defRPr>
      </a:lvl8pPr>
      <a:lvl9pPr marL="2613983" algn="l" defTabSz="653496" rtl="0" eaLnBrk="1" latinLnBrk="0" hangingPunct="1">
        <a:defRPr sz="128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ZA" sz="1043" dirty="0"/>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dirty="0"/>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dirty="0"/>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BAE6272B-7CBD-49A1-A548-05870F04DE9A}" type="slidenum">
              <a:rPr lang="en-US" altLang="en-US"/>
              <a:pPr>
                <a:defRPr/>
              </a:pPr>
              <a:t>‹#›</a:t>
            </a:fld>
            <a:endParaRPr lang="en-US" altLang="en-US" dirty="0"/>
          </a:p>
        </p:txBody>
      </p:sp>
    </p:spTree>
    <p:extLst>
      <p:ext uri="{BB962C8B-B14F-4D97-AF65-F5344CB8AC3E}">
        <p14:creationId xmlns:p14="http://schemas.microsoft.com/office/powerpoint/2010/main" xmlns="" val="265696623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ZA" sz="1043" dirty="0"/>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dirty="0"/>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dirty="0"/>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1F5EE073-3049-46B5-B09B-FB7ADE54B7B1}" type="slidenum">
              <a:rPr lang="en-US" altLang="en-US"/>
              <a:pPr>
                <a:defRPr/>
              </a:pPr>
              <a:t>‹#›</a:t>
            </a:fld>
            <a:endParaRPr lang="en-US" altLang="en-US" dirty="0"/>
          </a:p>
        </p:txBody>
      </p:sp>
    </p:spTree>
    <p:extLst>
      <p:ext uri="{BB962C8B-B14F-4D97-AF65-F5344CB8AC3E}">
        <p14:creationId xmlns:p14="http://schemas.microsoft.com/office/powerpoint/2010/main" xmlns="" val="172166849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98752" y="339147"/>
            <a:ext cx="7514698" cy="12321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598752" y="1696771"/>
            <a:ext cx="7514698" cy="40427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598751" y="5906547"/>
            <a:ext cx="1960032" cy="339146"/>
          </a:xfrm>
          <a:prstGeom prst="rect">
            <a:avLst/>
          </a:prstGeom>
        </p:spPr>
        <p:txBody>
          <a:bodyPr vert="horz" lIns="91440" tIns="45720" rIns="91440" bIns="45720" rtlCol="0" anchor="ctr"/>
          <a:lstStyle>
            <a:lvl1pPr algn="l" defTabSz="424795" eaLnBrk="1" fontAlgn="auto" hangingPunct="1">
              <a:spcBef>
                <a:spcPts val="0"/>
              </a:spcBef>
              <a:spcAft>
                <a:spcPts val="0"/>
              </a:spcAft>
              <a:defRPr sz="1115">
                <a:solidFill>
                  <a:prstClr val="black">
                    <a:tint val="75000"/>
                  </a:prstClr>
                </a:solidFill>
                <a:latin typeface="+mn-lt"/>
              </a:defRPr>
            </a:lvl1pPr>
          </a:lstStyle>
          <a:p>
            <a:pPr>
              <a:defRPr/>
            </a:pPr>
            <a:endParaRPr lang="en-ZA" dirty="0"/>
          </a:p>
        </p:txBody>
      </p:sp>
      <p:sp>
        <p:nvSpPr>
          <p:cNvPr id="5" name="Footer Placeholder 4"/>
          <p:cNvSpPr>
            <a:spLocks noGrp="1"/>
          </p:cNvSpPr>
          <p:nvPr>
            <p:ph type="ftr" sz="quarter" idx="3"/>
          </p:nvPr>
        </p:nvSpPr>
        <p:spPr>
          <a:xfrm>
            <a:off x="2886342" y="5906547"/>
            <a:ext cx="2939517" cy="339146"/>
          </a:xfrm>
          <a:prstGeom prst="rect">
            <a:avLst/>
          </a:prstGeom>
        </p:spPr>
        <p:txBody>
          <a:bodyPr vert="horz" lIns="91440" tIns="45720" rIns="91440" bIns="45720" rtlCol="0" anchor="ctr"/>
          <a:lstStyle>
            <a:lvl1pPr algn="ctr" defTabSz="424795" eaLnBrk="1" fontAlgn="auto" hangingPunct="1">
              <a:spcBef>
                <a:spcPts val="0"/>
              </a:spcBef>
              <a:spcAft>
                <a:spcPts val="0"/>
              </a:spcAft>
              <a:defRPr sz="1115">
                <a:solidFill>
                  <a:prstClr val="black">
                    <a:tint val="75000"/>
                  </a:prstClr>
                </a:solidFill>
                <a:latin typeface="+mn-lt"/>
              </a:defRPr>
            </a:lvl1pPr>
          </a:lstStyle>
          <a:p>
            <a:pPr>
              <a:defRPr/>
            </a:pPr>
            <a:endParaRPr lang="en-ZA" dirty="0"/>
          </a:p>
        </p:txBody>
      </p:sp>
      <p:sp>
        <p:nvSpPr>
          <p:cNvPr id="6" name="Slide Number Placeholder 5"/>
          <p:cNvSpPr>
            <a:spLocks noGrp="1"/>
          </p:cNvSpPr>
          <p:nvPr>
            <p:ph type="sldNum" sz="quarter" idx="4"/>
          </p:nvPr>
        </p:nvSpPr>
        <p:spPr>
          <a:xfrm>
            <a:off x="6153417" y="5906547"/>
            <a:ext cx="1960033" cy="339146"/>
          </a:xfrm>
          <a:prstGeom prst="rect">
            <a:avLst/>
          </a:prstGeom>
        </p:spPr>
        <p:txBody>
          <a:bodyPr vert="horz" wrap="square" lIns="91440" tIns="45720" rIns="91440" bIns="45720" numCol="1" anchor="ctr" anchorCtr="0" compatLnSpc="1">
            <a:prstTxWarp prst="textNoShape">
              <a:avLst/>
            </a:prstTxWarp>
          </a:bodyPr>
          <a:lstStyle>
            <a:lvl1pPr algn="r" defTabSz="424795" eaLnBrk="1" hangingPunct="1">
              <a:defRPr sz="1115">
                <a:solidFill>
                  <a:srgbClr val="898989"/>
                </a:solidFill>
              </a:defRPr>
            </a:lvl1pPr>
          </a:lstStyle>
          <a:p>
            <a:pPr>
              <a:defRPr/>
            </a:pPr>
            <a:fld id="{E7932C7B-2AC9-4AE1-BCEE-8AAB3B2D72AC}" type="slidenum">
              <a:rPr lang="en-ZA"/>
              <a:pPr>
                <a:defRPr/>
              </a:pPr>
              <a:t>‹#›</a:t>
            </a:fld>
            <a:endParaRPr lang="en-ZA" dirty="0"/>
          </a:p>
        </p:txBody>
      </p:sp>
    </p:spTree>
    <p:extLst>
      <p:ext uri="{BB962C8B-B14F-4D97-AF65-F5344CB8AC3E}">
        <p14:creationId xmlns:p14="http://schemas.microsoft.com/office/powerpoint/2010/main" xmlns="" val="3136864675"/>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Lst>
  <p:hf hdr="0" ftr="0" dt="0"/>
  <p:txStyles>
    <p:titleStyle>
      <a:lvl1pPr algn="l" rtl="0" eaLnBrk="0" fontAlgn="base" hangingPunct="0">
        <a:lnSpc>
          <a:spcPct val="90000"/>
        </a:lnSpc>
        <a:spcBef>
          <a:spcPct val="0"/>
        </a:spcBef>
        <a:spcAft>
          <a:spcPct val="0"/>
        </a:spcAft>
        <a:defRPr sz="4050" kern="1200">
          <a:solidFill>
            <a:schemeClr val="tx1"/>
          </a:solidFill>
          <a:latin typeface="+mj-lt"/>
          <a:ea typeface="+mj-ea"/>
          <a:cs typeface="+mj-cs"/>
        </a:defRPr>
      </a:lvl1pPr>
      <a:lvl2pPr algn="l" rtl="0" eaLnBrk="0" fontAlgn="base" hangingPunct="0">
        <a:lnSpc>
          <a:spcPct val="90000"/>
        </a:lnSpc>
        <a:spcBef>
          <a:spcPct val="0"/>
        </a:spcBef>
        <a:spcAft>
          <a:spcPct val="0"/>
        </a:spcAft>
        <a:defRPr sz="4050">
          <a:solidFill>
            <a:schemeClr val="tx1"/>
          </a:solidFill>
          <a:latin typeface="Calibri Light" pitchFamily="34" charset="0"/>
        </a:defRPr>
      </a:lvl2pPr>
      <a:lvl3pPr algn="l" rtl="0" eaLnBrk="0" fontAlgn="base" hangingPunct="0">
        <a:lnSpc>
          <a:spcPct val="90000"/>
        </a:lnSpc>
        <a:spcBef>
          <a:spcPct val="0"/>
        </a:spcBef>
        <a:spcAft>
          <a:spcPct val="0"/>
        </a:spcAft>
        <a:defRPr sz="4050">
          <a:solidFill>
            <a:schemeClr val="tx1"/>
          </a:solidFill>
          <a:latin typeface="Calibri Light" pitchFamily="34" charset="0"/>
        </a:defRPr>
      </a:lvl3pPr>
      <a:lvl4pPr algn="l" rtl="0" eaLnBrk="0" fontAlgn="base" hangingPunct="0">
        <a:lnSpc>
          <a:spcPct val="90000"/>
        </a:lnSpc>
        <a:spcBef>
          <a:spcPct val="0"/>
        </a:spcBef>
        <a:spcAft>
          <a:spcPct val="0"/>
        </a:spcAft>
        <a:defRPr sz="4050">
          <a:solidFill>
            <a:schemeClr val="tx1"/>
          </a:solidFill>
          <a:latin typeface="Calibri Light" pitchFamily="34" charset="0"/>
        </a:defRPr>
      </a:lvl4pPr>
      <a:lvl5pPr algn="l" rtl="0" eaLnBrk="0" fontAlgn="base" hangingPunct="0">
        <a:lnSpc>
          <a:spcPct val="90000"/>
        </a:lnSpc>
        <a:spcBef>
          <a:spcPct val="0"/>
        </a:spcBef>
        <a:spcAft>
          <a:spcPct val="0"/>
        </a:spcAft>
        <a:defRPr sz="4050">
          <a:solidFill>
            <a:schemeClr val="tx1"/>
          </a:solidFill>
          <a:latin typeface="Calibri Light" pitchFamily="34" charset="0"/>
        </a:defRPr>
      </a:lvl5pPr>
      <a:lvl6pPr marL="424795" algn="l" rtl="0" fontAlgn="base">
        <a:lnSpc>
          <a:spcPct val="90000"/>
        </a:lnSpc>
        <a:spcBef>
          <a:spcPct val="0"/>
        </a:spcBef>
        <a:spcAft>
          <a:spcPct val="0"/>
        </a:spcAft>
        <a:defRPr sz="4088">
          <a:solidFill>
            <a:schemeClr val="tx1"/>
          </a:solidFill>
          <a:latin typeface="Calibri Light" pitchFamily="34" charset="0"/>
        </a:defRPr>
      </a:lvl6pPr>
      <a:lvl7pPr marL="849591" algn="l" rtl="0" fontAlgn="base">
        <a:lnSpc>
          <a:spcPct val="90000"/>
        </a:lnSpc>
        <a:spcBef>
          <a:spcPct val="0"/>
        </a:spcBef>
        <a:spcAft>
          <a:spcPct val="0"/>
        </a:spcAft>
        <a:defRPr sz="4088">
          <a:solidFill>
            <a:schemeClr val="tx1"/>
          </a:solidFill>
          <a:latin typeface="Calibri Light" pitchFamily="34" charset="0"/>
        </a:defRPr>
      </a:lvl7pPr>
      <a:lvl8pPr marL="1274386" algn="l" rtl="0" fontAlgn="base">
        <a:lnSpc>
          <a:spcPct val="90000"/>
        </a:lnSpc>
        <a:spcBef>
          <a:spcPct val="0"/>
        </a:spcBef>
        <a:spcAft>
          <a:spcPct val="0"/>
        </a:spcAft>
        <a:defRPr sz="4088">
          <a:solidFill>
            <a:schemeClr val="tx1"/>
          </a:solidFill>
          <a:latin typeface="Calibri Light" pitchFamily="34" charset="0"/>
        </a:defRPr>
      </a:lvl8pPr>
      <a:lvl9pPr marL="1699180" algn="l" rtl="0" fontAlgn="base">
        <a:lnSpc>
          <a:spcPct val="90000"/>
        </a:lnSpc>
        <a:spcBef>
          <a:spcPct val="0"/>
        </a:spcBef>
        <a:spcAft>
          <a:spcPct val="0"/>
        </a:spcAft>
        <a:defRPr sz="4088">
          <a:solidFill>
            <a:schemeClr val="tx1"/>
          </a:solidFill>
          <a:latin typeface="Calibri Light" pitchFamily="34" charset="0"/>
        </a:defRPr>
      </a:lvl9pPr>
    </p:titleStyle>
    <p:bodyStyle>
      <a:lvl1pPr marL="211571" indent="-211571" algn="l" rtl="0" eaLnBrk="0" fontAlgn="base" hangingPunct="0">
        <a:lnSpc>
          <a:spcPct val="90000"/>
        </a:lnSpc>
        <a:spcBef>
          <a:spcPts val="931"/>
        </a:spcBef>
        <a:spcAft>
          <a:spcPct val="0"/>
        </a:spcAft>
        <a:buFont typeface="Arial" panose="020B0604020202020204" pitchFamily="34" charset="0"/>
        <a:buChar char="•"/>
        <a:defRPr sz="2548" kern="1200">
          <a:solidFill>
            <a:schemeClr val="tx1"/>
          </a:solidFill>
          <a:latin typeface="+mn-lt"/>
          <a:ea typeface="+mn-ea"/>
          <a:cs typeface="+mn-cs"/>
        </a:defRPr>
      </a:lvl1pPr>
      <a:lvl2pPr marL="636788" indent="-211571" algn="l" rtl="0" eaLnBrk="0" fontAlgn="base" hangingPunct="0">
        <a:lnSpc>
          <a:spcPct val="90000"/>
        </a:lnSpc>
        <a:spcBef>
          <a:spcPts val="466"/>
        </a:spcBef>
        <a:spcAft>
          <a:spcPct val="0"/>
        </a:spcAft>
        <a:buFont typeface="Arial" panose="020B0604020202020204" pitchFamily="34" charset="0"/>
        <a:buChar char="•"/>
        <a:defRPr sz="2221" kern="1200">
          <a:solidFill>
            <a:schemeClr val="tx1"/>
          </a:solidFill>
          <a:latin typeface="+mn-lt"/>
          <a:ea typeface="+mn-ea"/>
          <a:cs typeface="+mn-cs"/>
        </a:defRPr>
      </a:lvl2pPr>
      <a:lvl3pPr marL="1060968" indent="-211571" algn="l" rtl="0" eaLnBrk="0" fontAlgn="base" hangingPunct="0">
        <a:lnSpc>
          <a:spcPct val="90000"/>
        </a:lnSpc>
        <a:spcBef>
          <a:spcPts val="466"/>
        </a:spcBef>
        <a:spcAft>
          <a:spcPct val="0"/>
        </a:spcAft>
        <a:buFont typeface="Arial" panose="020B0604020202020204" pitchFamily="34" charset="0"/>
        <a:buChar char="•"/>
        <a:defRPr sz="1829" kern="1200">
          <a:solidFill>
            <a:schemeClr val="tx1"/>
          </a:solidFill>
          <a:latin typeface="+mn-lt"/>
          <a:ea typeface="+mn-ea"/>
          <a:cs typeface="+mn-cs"/>
        </a:defRPr>
      </a:lvl3pPr>
      <a:lvl4pPr marL="1486184"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4pPr>
      <a:lvl5pPr marL="1911401"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5pPr>
      <a:lvl6pPr marL="2336373"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6pPr>
      <a:lvl7pPr marL="276116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7pPr>
      <a:lvl8pPr marL="3185964"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8pPr>
      <a:lvl9pPr marL="361075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9pPr>
    </p:bodyStyle>
    <p:otherStyle>
      <a:defPPr>
        <a:defRPr lang="en-US"/>
      </a:defPPr>
      <a:lvl1pPr marL="0" algn="l" defTabSz="849591" rtl="0" eaLnBrk="1" latinLnBrk="0" hangingPunct="1">
        <a:defRPr sz="1672" kern="1200">
          <a:solidFill>
            <a:schemeClr val="tx1"/>
          </a:solidFill>
          <a:latin typeface="+mn-lt"/>
          <a:ea typeface="+mn-ea"/>
          <a:cs typeface="+mn-cs"/>
        </a:defRPr>
      </a:lvl1pPr>
      <a:lvl2pPr marL="424795" algn="l" defTabSz="849591" rtl="0" eaLnBrk="1" latinLnBrk="0" hangingPunct="1">
        <a:defRPr sz="1672" kern="1200">
          <a:solidFill>
            <a:schemeClr val="tx1"/>
          </a:solidFill>
          <a:latin typeface="+mn-lt"/>
          <a:ea typeface="+mn-ea"/>
          <a:cs typeface="+mn-cs"/>
        </a:defRPr>
      </a:lvl2pPr>
      <a:lvl3pPr marL="849591" algn="l" defTabSz="849591" rtl="0" eaLnBrk="1" latinLnBrk="0" hangingPunct="1">
        <a:defRPr sz="1672" kern="1200">
          <a:solidFill>
            <a:schemeClr val="tx1"/>
          </a:solidFill>
          <a:latin typeface="+mn-lt"/>
          <a:ea typeface="+mn-ea"/>
          <a:cs typeface="+mn-cs"/>
        </a:defRPr>
      </a:lvl3pPr>
      <a:lvl4pPr marL="1274386" algn="l" defTabSz="849591" rtl="0" eaLnBrk="1" latinLnBrk="0" hangingPunct="1">
        <a:defRPr sz="1672" kern="1200">
          <a:solidFill>
            <a:schemeClr val="tx1"/>
          </a:solidFill>
          <a:latin typeface="+mn-lt"/>
          <a:ea typeface="+mn-ea"/>
          <a:cs typeface="+mn-cs"/>
        </a:defRPr>
      </a:lvl4pPr>
      <a:lvl5pPr marL="1699180" algn="l" defTabSz="849591" rtl="0" eaLnBrk="1" latinLnBrk="0" hangingPunct="1">
        <a:defRPr sz="1672" kern="1200">
          <a:solidFill>
            <a:schemeClr val="tx1"/>
          </a:solidFill>
          <a:latin typeface="+mn-lt"/>
          <a:ea typeface="+mn-ea"/>
          <a:cs typeface="+mn-cs"/>
        </a:defRPr>
      </a:lvl5pPr>
      <a:lvl6pPr marL="2123976" algn="l" defTabSz="849591" rtl="0" eaLnBrk="1" latinLnBrk="0" hangingPunct="1">
        <a:defRPr sz="1672" kern="1200">
          <a:solidFill>
            <a:schemeClr val="tx1"/>
          </a:solidFill>
          <a:latin typeface="+mn-lt"/>
          <a:ea typeface="+mn-ea"/>
          <a:cs typeface="+mn-cs"/>
        </a:defRPr>
      </a:lvl6pPr>
      <a:lvl7pPr marL="2548771" algn="l" defTabSz="849591" rtl="0" eaLnBrk="1" latinLnBrk="0" hangingPunct="1">
        <a:defRPr sz="1672" kern="1200">
          <a:solidFill>
            <a:schemeClr val="tx1"/>
          </a:solidFill>
          <a:latin typeface="+mn-lt"/>
          <a:ea typeface="+mn-ea"/>
          <a:cs typeface="+mn-cs"/>
        </a:defRPr>
      </a:lvl7pPr>
      <a:lvl8pPr marL="2973566" algn="l" defTabSz="849591" rtl="0" eaLnBrk="1" latinLnBrk="0" hangingPunct="1">
        <a:defRPr sz="1672" kern="1200">
          <a:solidFill>
            <a:schemeClr val="tx1"/>
          </a:solidFill>
          <a:latin typeface="+mn-lt"/>
          <a:ea typeface="+mn-ea"/>
          <a:cs typeface="+mn-cs"/>
        </a:defRPr>
      </a:lvl8pPr>
      <a:lvl9pPr marL="3398361" algn="l" defTabSz="849591" rtl="0" eaLnBrk="1" latinLnBrk="0" hangingPunct="1">
        <a:defRPr sz="167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99.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89.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4.jpeg"/><Relationship Id="rId1" Type="http://schemas.openxmlformats.org/officeDocument/2006/relationships/slideLayout" Target="../slideLayouts/slideLayout89.xml"/><Relationship Id="rId4" Type="http://schemas.openxmlformats.org/officeDocument/2006/relationships/image" Target="../media/image28.jpe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4.jpeg"/><Relationship Id="rId1" Type="http://schemas.openxmlformats.org/officeDocument/2006/relationships/slideLayout" Target="../slideLayouts/slideLayout89.xml"/><Relationship Id="rId4" Type="http://schemas.openxmlformats.org/officeDocument/2006/relationships/image" Target="../media/image30.jpe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4.jpeg"/><Relationship Id="rId1" Type="http://schemas.openxmlformats.org/officeDocument/2006/relationships/slideLayout" Target="../slideLayouts/slideLayout89.xml"/><Relationship Id="rId4" Type="http://schemas.openxmlformats.org/officeDocument/2006/relationships/image" Target="../media/image32.jpe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4.jpeg"/><Relationship Id="rId1" Type="http://schemas.openxmlformats.org/officeDocument/2006/relationships/slideLayout" Target="../slideLayouts/slideLayout95.xml"/><Relationship Id="rId5" Type="http://schemas.openxmlformats.org/officeDocument/2006/relationships/image" Target="../media/image35.jpe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98.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01.xml"/></Relationships>
</file>

<file path=ppt/slides/_rels/slide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7.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p:cNvSpPr>
            <a:spLocks noGrp="1"/>
          </p:cNvSpPr>
          <p:nvPr>
            <p:ph type="ctrTitle"/>
          </p:nvPr>
        </p:nvSpPr>
        <p:spPr>
          <a:xfrm>
            <a:off x="206480" y="2848591"/>
            <a:ext cx="7689400" cy="972254"/>
          </a:xfrm>
        </p:spPr>
        <p:txBody>
          <a:bodyPr/>
          <a:lstStyle/>
          <a:p>
            <a:pPr algn="l" eaLnBrk="1" hangingPunct="1">
              <a:defRPr/>
            </a:pPr>
            <a:r>
              <a:rPr lang="en-ZA" altLang="en-US" sz="2230" b="1" dirty="0"/>
              <a:t/>
            </a:r>
            <a:br>
              <a:rPr lang="en-ZA" altLang="en-US" sz="2230" b="1" dirty="0"/>
            </a:br>
            <a:r>
              <a:rPr lang="en-ZA" altLang="en-US" sz="2230" b="1" dirty="0"/>
              <a:t/>
            </a:r>
            <a:br>
              <a:rPr lang="en-ZA" altLang="en-US" sz="2230" b="1" dirty="0"/>
            </a:br>
            <a:endParaRPr lang="en-ZA" altLang="en-US" sz="1858" b="1" dirty="0">
              <a:latin typeface="Arial" panose="020B0604020202020204" pitchFamily="34" charset="0"/>
              <a:cs typeface="Arial" panose="020B0604020202020204" pitchFamily="34" charset="0"/>
            </a:endParaRPr>
          </a:p>
        </p:txBody>
      </p:sp>
      <p:pic>
        <p:nvPicPr>
          <p:cNvPr id="5" name="Picture 4"/>
          <p:cNvPicPr/>
          <p:nvPr/>
        </p:nvPicPr>
        <p:blipFill>
          <a:blip r:embed="rId3">
            <a:extLst>
              <a:ext uri="{28A0092B-C50C-407E-A947-70E740481C1C}">
                <a14:useLocalDpi xmlns:a14="http://schemas.microsoft.com/office/drawing/2010/main" xmlns="" val="0"/>
              </a:ext>
            </a:extLst>
          </a:blip>
          <a:srcRect/>
          <a:stretch>
            <a:fillRect/>
          </a:stretch>
        </p:blipFill>
        <p:spPr bwMode="auto">
          <a:xfrm>
            <a:off x="403793" y="3630304"/>
            <a:ext cx="5246379" cy="1815153"/>
          </a:xfrm>
          <a:prstGeom prst="rect">
            <a:avLst/>
          </a:prstGeom>
          <a:noFill/>
          <a:ln>
            <a:noFill/>
          </a:ln>
        </p:spPr>
      </p:pic>
      <p:sp>
        <p:nvSpPr>
          <p:cNvPr id="2" name="Slide Number Placeholder 1"/>
          <p:cNvSpPr>
            <a:spLocks noGrp="1"/>
          </p:cNvSpPr>
          <p:nvPr>
            <p:ph type="sldNum" sz="quarter" idx="12"/>
          </p:nvPr>
        </p:nvSpPr>
        <p:spPr/>
        <p:txBody>
          <a:bodyPr/>
          <a:lstStyle/>
          <a:p>
            <a:pPr>
              <a:defRPr/>
            </a:pPr>
            <a:fld id="{7E837958-0363-4286-9C1A-268508370921}" type="slidenum">
              <a:rPr lang="en-ZA" smtClean="0"/>
              <a:pPr>
                <a:defRPr/>
              </a:pPr>
              <a:t>1</a:t>
            </a:fld>
            <a:endParaRPr lang="en-ZA" dirty="0"/>
          </a:p>
        </p:txBody>
      </p:sp>
    </p:spTree>
    <p:extLst>
      <p:ext uri="{BB962C8B-B14F-4D97-AF65-F5344CB8AC3E}">
        <p14:creationId xmlns:p14="http://schemas.microsoft.com/office/powerpoint/2010/main" xmlns="" val="900401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2771" name="object 3"/>
          <p:cNvSpPr txBox="1">
            <a:spLocks noChangeArrowheads="1"/>
          </p:cNvSpPr>
          <p:nvPr/>
        </p:nvSpPr>
        <p:spPr bwMode="auto">
          <a:xfrm>
            <a:off x="395786" y="1323833"/>
            <a:ext cx="7783236" cy="653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12415" marR="0" lvl="0" indent="-212415" algn="l" defTabSz="849660" rtl="0" eaLnBrk="1" fontAlgn="auto" latinLnBrk="0" hangingPunct="1">
              <a:lnSpc>
                <a:spcPct val="150000"/>
              </a:lnSpc>
              <a:spcBef>
                <a:spcPts val="0"/>
              </a:spcBef>
              <a:spcAft>
                <a:spcPts val="0"/>
              </a:spcAft>
              <a:buClrTx/>
              <a:buSzTx/>
              <a:buFont typeface="Wingdings" pitchFamily="2" charset="2"/>
              <a:buChar char="q"/>
              <a:tabLst/>
              <a:defRPr/>
            </a:pPr>
            <a:endParaRPr kumimoji="0" lang="en-US" altLang="en-US" sz="3200" b="0" i="0" u="none" strike="noStrike" kern="1200" cap="none" spc="0" normalizeH="0" baseline="0" noProof="0" dirty="0">
              <a:ln>
                <a:noFill/>
              </a:ln>
              <a:solidFill>
                <a:srgbClr val="00603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0</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pic>
        <p:nvPicPr>
          <p:cNvPr id="5" name="Picture 4">
            <a:extLst>
              <a:ext uri="{FF2B5EF4-FFF2-40B4-BE49-F238E27FC236}">
                <a16:creationId xmlns:a16="http://schemas.microsoft.com/office/drawing/2014/main" xmlns="" id="{CA51548D-92DA-4A09-8B39-2CBA726BA119}"/>
              </a:ext>
            </a:extLst>
          </p:cNvPr>
          <p:cNvPicPr/>
          <p:nvPr/>
        </p:nvPicPr>
        <p:blipFill>
          <a:blip r:embed="rId3">
            <a:extLst>
              <a:ext uri="{28A0092B-C50C-407E-A947-70E740481C1C}">
                <a14:useLocalDpi xmlns:a14="http://schemas.microsoft.com/office/drawing/2010/main" xmlns="" val="0"/>
              </a:ext>
            </a:extLst>
          </a:blip>
          <a:srcRect/>
          <a:stretch>
            <a:fillRect/>
          </a:stretch>
        </p:blipFill>
        <p:spPr bwMode="auto">
          <a:xfrm>
            <a:off x="307216" y="1239943"/>
            <a:ext cx="3979558" cy="4061460"/>
          </a:xfrm>
          <a:prstGeom prst="rect">
            <a:avLst/>
          </a:prstGeom>
          <a:noFill/>
          <a:ln>
            <a:noFill/>
          </a:ln>
        </p:spPr>
      </p:pic>
      <p:pic>
        <p:nvPicPr>
          <p:cNvPr id="6" name="Picture 5">
            <a:extLst>
              <a:ext uri="{FF2B5EF4-FFF2-40B4-BE49-F238E27FC236}">
                <a16:creationId xmlns:a16="http://schemas.microsoft.com/office/drawing/2014/main" xmlns="" id="{46553EE5-2FDD-4702-B055-C204AE5B59AC}"/>
              </a:ext>
            </a:extLst>
          </p:cNvPr>
          <p:cNvPicPr/>
          <p:nvPr/>
        </p:nvPicPr>
        <p:blipFill>
          <a:blip r:embed="rId4">
            <a:extLst>
              <a:ext uri="{28A0092B-C50C-407E-A947-70E740481C1C}">
                <a14:useLocalDpi xmlns:a14="http://schemas.microsoft.com/office/drawing/2010/main" xmlns="" val="0"/>
              </a:ext>
            </a:extLst>
          </a:blip>
          <a:srcRect/>
          <a:stretch>
            <a:fillRect/>
          </a:stretch>
        </p:blipFill>
        <p:spPr bwMode="auto">
          <a:xfrm>
            <a:off x="4630722" y="1323833"/>
            <a:ext cx="3795469" cy="4061460"/>
          </a:xfrm>
          <a:prstGeom prst="rect">
            <a:avLst/>
          </a:prstGeom>
          <a:noFill/>
          <a:ln>
            <a:noFill/>
          </a:ln>
        </p:spPr>
      </p:pic>
      <p:sp>
        <p:nvSpPr>
          <p:cNvPr id="4" name="Rectangle 3">
            <a:extLst>
              <a:ext uri="{FF2B5EF4-FFF2-40B4-BE49-F238E27FC236}">
                <a16:creationId xmlns:a16="http://schemas.microsoft.com/office/drawing/2014/main" xmlns="" id="{952E1629-F5FA-468D-A7A4-2734A39B1645}"/>
              </a:ext>
            </a:extLst>
          </p:cNvPr>
          <p:cNvSpPr/>
          <p:nvPr/>
        </p:nvSpPr>
        <p:spPr>
          <a:xfrm>
            <a:off x="221288" y="5460747"/>
            <a:ext cx="3143810" cy="523220"/>
          </a:xfrm>
          <a:prstGeom prst="rect">
            <a:avLst/>
          </a:prstGeom>
        </p:spPr>
        <p:txBody>
          <a:bodyPr wrap="none">
            <a:spAutoFit/>
          </a:bodyPr>
          <a:lstStyle/>
          <a:p>
            <a:pPr lvl="0" algn="ctr"/>
            <a:r>
              <a:rPr lang="en-US" sz="2800" b="1" dirty="0">
                <a:solidFill>
                  <a:prstClr val="black"/>
                </a:solidFill>
                <a:latin typeface="Arial"/>
              </a:rPr>
              <a:t>Makausi 1 </a:t>
            </a:r>
            <a:r>
              <a:rPr lang="en-US" sz="2800" b="1" dirty="0">
                <a:solidFill>
                  <a:srgbClr val="FF0000"/>
                </a:solidFill>
                <a:latin typeface="Arial"/>
              </a:rPr>
              <a:t>Before</a:t>
            </a:r>
          </a:p>
        </p:txBody>
      </p:sp>
      <p:sp>
        <p:nvSpPr>
          <p:cNvPr id="7" name="Rectangle 6">
            <a:extLst>
              <a:ext uri="{FF2B5EF4-FFF2-40B4-BE49-F238E27FC236}">
                <a16:creationId xmlns:a16="http://schemas.microsoft.com/office/drawing/2014/main" xmlns="" id="{3702A7CB-BCBD-4BD9-9ED6-FE48BFC6B40C}"/>
              </a:ext>
            </a:extLst>
          </p:cNvPr>
          <p:cNvSpPr/>
          <p:nvPr/>
        </p:nvSpPr>
        <p:spPr>
          <a:xfrm>
            <a:off x="4443636" y="5460747"/>
            <a:ext cx="2830711" cy="523220"/>
          </a:xfrm>
          <a:prstGeom prst="rect">
            <a:avLst/>
          </a:prstGeom>
        </p:spPr>
        <p:txBody>
          <a:bodyPr wrap="none">
            <a:spAutoFit/>
          </a:bodyPr>
          <a:lstStyle/>
          <a:p>
            <a:pPr lvl="0" algn="ctr"/>
            <a:r>
              <a:rPr lang="en-US" sz="2800" b="1" dirty="0">
                <a:solidFill>
                  <a:prstClr val="black"/>
                </a:solidFill>
                <a:latin typeface="Arial"/>
              </a:rPr>
              <a:t>Makausi 1 </a:t>
            </a:r>
            <a:r>
              <a:rPr lang="en-US" sz="2800" b="1" dirty="0">
                <a:solidFill>
                  <a:srgbClr val="FF0000"/>
                </a:solidFill>
                <a:latin typeface="Arial"/>
              </a:rPr>
              <a:t>After</a:t>
            </a:r>
          </a:p>
        </p:txBody>
      </p:sp>
      <p:sp>
        <p:nvSpPr>
          <p:cNvPr id="8" name="Title 7">
            <a:extLst>
              <a:ext uri="{FF2B5EF4-FFF2-40B4-BE49-F238E27FC236}">
                <a16:creationId xmlns:a16="http://schemas.microsoft.com/office/drawing/2014/main" xmlns="" id="{004169FD-9C6A-4841-9C28-7AB83E9F4DAE}"/>
              </a:ext>
            </a:extLst>
          </p:cNvPr>
          <p:cNvSpPr>
            <a:spLocks noGrp="1"/>
          </p:cNvSpPr>
          <p:nvPr>
            <p:ph type="title"/>
          </p:nvPr>
        </p:nvSpPr>
        <p:spPr>
          <a:xfrm>
            <a:off x="307217" y="770600"/>
            <a:ext cx="7698820" cy="430887"/>
          </a:xfrm>
        </p:spPr>
        <p:txBody>
          <a:bodyPr/>
          <a:lstStyle/>
          <a:p>
            <a:r>
              <a:rPr lang="en-ZA" sz="2800" spc="-3" dirty="0">
                <a:solidFill>
                  <a:prstClr val="white"/>
                </a:solidFill>
              </a:rPr>
              <a:t>SHAFTS/HOLINGS SEALED </a:t>
            </a:r>
            <a:endParaRPr lang="en-ZA" dirty="0"/>
          </a:p>
        </p:txBody>
      </p:sp>
    </p:spTree>
    <p:extLst>
      <p:ext uri="{BB962C8B-B14F-4D97-AF65-F5344CB8AC3E}">
        <p14:creationId xmlns:p14="http://schemas.microsoft.com/office/powerpoint/2010/main" xmlns="" val="42013861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2771" name="object 3"/>
          <p:cNvSpPr txBox="1">
            <a:spLocks noChangeArrowheads="1"/>
          </p:cNvSpPr>
          <p:nvPr/>
        </p:nvSpPr>
        <p:spPr bwMode="auto">
          <a:xfrm>
            <a:off x="395786" y="1323833"/>
            <a:ext cx="7783236" cy="653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12415" marR="0" lvl="0" indent="-212415" algn="l" defTabSz="849660" rtl="0" eaLnBrk="1" fontAlgn="auto" latinLnBrk="0" hangingPunct="1">
              <a:lnSpc>
                <a:spcPct val="150000"/>
              </a:lnSpc>
              <a:spcBef>
                <a:spcPts val="0"/>
              </a:spcBef>
              <a:spcAft>
                <a:spcPts val="0"/>
              </a:spcAft>
              <a:buClrTx/>
              <a:buSzTx/>
              <a:buFont typeface="Wingdings" pitchFamily="2" charset="2"/>
              <a:buChar char="q"/>
              <a:tabLst/>
              <a:defRPr/>
            </a:pPr>
            <a:endParaRPr kumimoji="0" lang="en-US" altLang="en-US" sz="3200" b="0" i="0" u="none" strike="noStrike" kern="1200" cap="none" spc="0" normalizeH="0" baseline="0" noProof="0" dirty="0">
              <a:ln>
                <a:noFill/>
              </a:ln>
              <a:solidFill>
                <a:srgbClr val="00603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1</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xmlns="" id="{B8E807BB-CFA7-4CCD-A3A2-945A99078F06}"/>
              </a:ext>
            </a:extLst>
          </p:cNvPr>
          <p:cNvSpPr>
            <a:spLocks noGrp="1"/>
          </p:cNvSpPr>
          <p:nvPr>
            <p:ph type="title"/>
          </p:nvPr>
        </p:nvSpPr>
        <p:spPr>
          <a:xfrm>
            <a:off x="83891" y="713064"/>
            <a:ext cx="8192274" cy="369332"/>
          </a:xfrm>
        </p:spPr>
        <p:txBody>
          <a:bodyPr/>
          <a:lstStyle/>
          <a:p>
            <a:r>
              <a:rPr lang="en-ZA" sz="2400" spc="-3" dirty="0">
                <a:solidFill>
                  <a:prstClr val="white"/>
                </a:solidFill>
              </a:rPr>
              <a:t>SHAFTS/HOLINGS SEALED </a:t>
            </a:r>
            <a:r>
              <a:rPr lang="en-ZA" sz="2400" spc="-3" dirty="0">
                <a:solidFill>
                  <a:srgbClr val="FF0000"/>
                </a:solidFill>
              </a:rPr>
              <a:t>CONTINUED</a:t>
            </a:r>
            <a:endParaRPr lang="en-ZA" dirty="0"/>
          </a:p>
        </p:txBody>
      </p:sp>
      <p:pic>
        <p:nvPicPr>
          <p:cNvPr id="5" name="Picture 4">
            <a:extLst>
              <a:ext uri="{FF2B5EF4-FFF2-40B4-BE49-F238E27FC236}">
                <a16:creationId xmlns:a16="http://schemas.microsoft.com/office/drawing/2014/main" xmlns="" id="{B0CF2BBF-EA4F-4FC2-A164-7F6A5D605D7B}"/>
              </a:ext>
            </a:extLst>
          </p:cNvPr>
          <p:cNvPicPr/>
          <p:nvPr/>
        </p:nvPicPr>
        <p:blipFill>
          <a:blip r:embed="rId3">
            <a:extLst>
              <a:ext uri="{28A0092B-C50C-407E-A947-70E740481C1C}">
                <a14:useLocalDpi xmlns:a14="http://schemas.microsoft.com/office/drawing/2010/main" xmlns="" val="0"/>
              </a:ext>
            </a:extLst>
          </a:blip>
          <a:srcRect/>
          <a:stretch>
            <a:fillRect/>
          </a:stretch>
        </p:blipFill>
        <p:spPr bwMode="auto">
          <a:xfrm>
            <a:off x="395786" y="1323833"/>
            <a:ext cx="3960314" cy="3862530"/>
          </a:xfrm>
          <a:prstGeom prst="rect">
            <a:avLst/>
          </a:prstGeom>
          <a:noFill/>
          <a:ln>
            <a:noFill/>
          </a:ln>
        </p:spPr>
      </p:pic>
      <p:pic>
        <p:nvPicPr>
          <p:cNvPr id="6" name="Picture 5">
            <a:extLst>
              <a:ext uri="{FF2B5EF4-FFF2-40B4-BE49-F238E27FC236}">
                <a16:creationId xmlns:a16="http://schemas.microsoft.com/office/drawing/2014/main" xmlns="" id="{E94B0F5E-6DA9-41D0-B851-C63FBDC71E2F}"/>
              </a:ext>
            </a:extLst>
          </p:cNvPr>
          <p:cNvPicPr/>
          <p:nvPr/>
        </p:nvPicPr>
        <p:blipFill>
          <a:blip r:embed="rId4">
            <a:extLst>
              <a:ext uri="{28A0092B-C50C-407E-A947-70E740481C1C}">
                <a14:useLocalDpi xmlns:a14="http://schemas.microsoft.com/office/drawing/2010/main" xmlns="" val="0"/>
              </a:ext>
            </a:extLst>
          </a:blip>
          <a:srcRect/>
          <a:stretch>
            <a:fillRect/>
          </a:stretch>
        </p:blipFill>
        <p:spPr bwMode="auto">
          <a:xfrm>
            <a:off x="4832058" y="1323833"/>
            <a:ext cx="3573885" cy="3862530"/>
          </a:xfrm>
          <a:prstGeom prst="rect">
            <a:avLst/>
          </a:prstGeom>
          <a:noFill/>
          <a:ln>
            <a:noFill/>
          </a:ln>
        </p:spPr>
      </p:pic>
      <p:sp>
        <p:nvSpPr>
          <p:cNvPr id="2" name="Rectangle 1">
            <a:extLst>
              <a:ext uri="{FF2B5EF4-FFF2-40B4-BE49-F238E27FC236}">
                <a16:creationId xmlns:a16="http://schemas.microsoft.com/office/drawing/2014/main" xmlns="" id="{663E60AD-0FDB-4DD9-B878-A054E66A2FCE}"/>
              </a:ext>
            </a:extLst>
          </p:cNvPr>
          <p:cNvSpPr/>
          <p:nvPr/>
        </p:nvSpPr>
        <p:spPr>
          <a:xfrm>
            <a:off x="309443" y="5335737"/>
            <a:ext cx="3143809" cy="523220"/>
          </a:xfrm>
          <a:prstGeom prst="rect">
            <a:avLst/>
          </a:prstGeom>
        </p:spPr>
        <p:txBody>
          <a:bodyPr wrap="none">
            <a:spAutoFit/>
          </a:bodyPr>
          <a:lstStyle/>
          <a:p>
            <a:pPr lvl="0" algn="ctr"/>
            <a:r>
              <a:rPr lang="en-US" sz="2800" b="1" dirty="0">
                <a:solidFill>
                  <a:prstClr val="black"/>
                </a:solidFill>
                <a:latin typeface="Arial"/>
              </a:rPr>
              <a:t>Makausi 2 </a:t>
            </a:r>
            <a:r>
              <a:rPr lang="en-US" sz="2800" b="1" dirty="0">
                <a:solidFill>
                  <a:srgbClr val="FF0000"/>
                </a:solidFill>
                <a:latin typeface="Arial"/>
              </a:rPr>
              <a:t>Before</a:t>
            </a:r>
          </a:p>
        </p:txBody>
      </p:sp>
      <p:sp>
        <p:nvSpPr>
          <p:cNvPr id="7" name="Rectangle 6">
            <a:extLst>
              <a:ext uri="{FF2B5EF4-FFF2-40B4-BE49-F238E27FC236}">
                <a16:creationId xmlns:a16="http://schemas.microsoft.com/office/drawing/2014/main" xmlns="" id="{F751E9C3-A7C6-41F5-A43D-E6D4DD729FC8}"/>
              </a:ext>
            </a:extLst>
          </p:cNvPr>
          <p:cNvSpPr/>
          <p:nvPr/>
        </p:nvSpPr>
        <p:spPr>
          <a:xfrm>
            <a:off x="4719210" y="5335737"/>
            <a:ext cx="2830711" cy="523220"/>
          </a:xfrm>
          <a:prstGeom prst="rect">
            <a:avLst/>
          </a:prstGeom>
        </p:spPr>
        <p:txBody>
          <a:bodyPr wrap="none">
            <a:spAutoFit/>
          </a:bodyPr>
          <a:lstStyle/>
          <a:p>
            <a:pPr lvl="0" algn="ctr"/>
            <a:r>
              <a:rPr lang="en-US" sz="2800" b="1" dirty="0">
                <a:solidFill>
                  <a:prstClr val="black"/>
                </a:solidFill>
                <a:latin typeface="Arial"/>
              </a:rPr>
              <a:t>Makausi 2 </a:t>
            </a:r>
            <a:r>
              <a:rPr lang="en-US" sz="2800" b="1" dirty="0">
                <a:solidFill>
                  <a:srgbClr val="FF0000"/>
                </a:solidFill>
                <a:latin typeface="Arial"/>
              </a:rPr>
              <a:t>After</a:t>
            </a:r>
          </a:p>
        </p:txBody>
      </p:sp>
    </p:spTree>
    <p:extLst>
      <p:ext uri="{BB962C8B-B14F-4D97-AF65-F5344CB8AC3E}">
        <p14:creationId xmlns:p14="http://schemas.microsoft.com/office/powerpoint/2010/main" xmlns="" val="1337803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2771" name="object 3"/>
          <p:cNvSpPr txBox="1">
            <a:spLocks noChangeArrowheads="1"/>
          </p:cNvSpPr>
          <p:nvPr/>
        </p:nvSpPr>
        <p:spPr bwMode="auto">
          <a:xfrm>
            <a:off x="395786" y="1323833"/>
            <a:ext cx="7783236" cy="653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12415" marR="0" lvl="0" indent="-212415" algn="l" defTabSz="849660" rtl="0" eaLnBrk="1" fontAlgn="auto" latinLnBrk="0" hangingPunct="1">
              <a:lnSpc>
                <a:spcPct val="150000"/>
              </a:lnSpc>
              <a:spcBef>
                <a:spcPts val="0"/>
              </a:spcBef>
              <a:spcAft>
                <a:spcPts val="0"/>
              </a:spcAft>
              <a:buClrTx/>
              <a:buSzTx/>
              <a:buFont typeface="Wingdings" pitchFamily="2" charset="2"/>
              <a:buChar char="q"/>
              <a:tabLst/>
              <a:defRPr/>
            </a:pPr>
            <a:endParaRPr kumimoji="0" lang="en-US" altLang="en-US" sz="3200" b="0" i="0" u="none" strike="noStrike" kern="1200" cap="none" spc="0" normalizeH="0" baseline="0" noProof="0" dirty="0">
              <a:ln>
                <a:noFill/>
              </a:ln>
              <a:solidFill>
                <a:srgbClr val="00603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2</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pic>
        <p:nvPicPr>
          <p:cNvPr id="5" name="Picture 4">
            <a:extLst>
              <a:ext uri="{FF2B5EF4-FFF2-40B4-BE49-F238E27FC236}">
                <a16:creationId xmlns:a16="http://schemas.microsoft.com/office/drawing/2014/main" xmlns="" id="{BAC1BF2F-8294-44ED-A448-EC63AE3AED1E}"/>
              </a:ext>
            </a:extLst>
          </p:cNvPr>
          <p:cNvPicPr/>
          <p:nvPr/>
        </p:nvPicPr>
        <p:blipFill>
          <a:blip r:embed="rId3">
            <a:extLst>
              <a:ext uri="{28A0092B-C50C-407E-A947-70E740481C1C}">
                <a14:useLocalDpi xmlns:a14="http://schemas.microsoft.com/office/drawing/2010/main" xmlns="" val="0"/>
              </a:ext>
            </a:extLst>
          </a:blip>
          <a:srcRect/>
          <a:stretch>
            <a:fillRect/>
          </a:stretch>
        </p:blipFill>
        <p:spPr bwMode="auto">
          <a:xfrm>
            <a:off x="325120" y="1316213"/>
            <a:ext cx="3916680" cy="3886200"/>
          </a:xfrm>
          <a:prstGeom prst="rect">
            <a:avLst/>
          </a:prstGeom>
          <a:noFill/>
          <a:ln>
            <a:noFill/>
          </a:ln>
        </p:spPr>
      </p:pic>
      <p:pic>
        <p:nvPicPr>
          <p:cNvPr id="6" name="Picture 5">
            <a:extLst>
              <a:ext uri="{FF2B5EF4-FFF2-40B4-BE49-F238E27FC236}">
                <a16:creationId xmlns:a16="http://schemas.microsoft.com/office/drawing/2014/main" xmlns="" id="{9D8DE4B3-CAD7-4ABB-ABB2-4D9E81CEAADC}"/>
              </a:ext>
            </a:extLst>
          </p:cNvPr>
          <p:cNvPicPr/>
          <p:nvPr/>
        </p:nvPicPr>
        <p:blipFill>
          <a:blip r:embed="rId4">
            <a:extLst>
              <a:ext uri="{28A0092B-C50C-407E-A947-70E740481C1C}">
                <a14:useLocalDpi xmlns:a14="http://schemas.microsoft.com/office/drawing/2010/main" xmlns="" val="0"/>
              </a:ext>
            </a:extLst>
          </a:blip>
          <a:srcRect/>
          <a:stretch>
            <a:fillRect/>
          </a:stretch>
        </p:blipFill>
        <p:spPr bwMode="auto">
          <a:xfrm>
            <a:off x="4356100" y="1250632"/>
            <a:ext cx="4030980" cy="3870960"/>
          </a:xfrm>
          <a:prstGeom prst="rect">
            <a:avLst/>
          </a:prstGeom>
          <a:noFill/>
          <a:ln>
            <a:noFill/>
          </a:ln>
        </p:spPr>
      </p:pic>
      <p:sp>
        <p:nvSpPr>
          <p:cNvPr id="4" name="Rectangle 3">
            <a:extLst>
              <a:ext uri="{FF2B5EF4-FFF2-40B4-BE49-F238E27FC236}">
                <a16:creationId xmlns:a16="http://schemas.microsoft.com/office/drawing/2014/main" xmlns="" id="{D6A7F011-F96E-4D8D-A5E7-B31F795CDC1A}"/>
              </a:ext>
            </a:extLst>
          </p:cNvPr>
          <p:cNvSpPr/>
          <p:nvPr/>
        </p:nvSpPr>
        <p:spPr>
          <a:xfrm>
            <a:off x="198721" y="5405610"/>
            <a:ext cx="4088683" cy="392030"/>
          </a:xfrm>
          <a:prstGeom prst="rect">
            <a:avLst/>
          </a:prstGeom>
        </p:spPr>
        <p:txBody>
          <a:bodyPr wrap="none">
            <a:spAutoFit/>
          </a:bodyPr>
          <a:lstStyle/>
          <a:p>
            <a:pPr>
              <a:lnSpc>
                <a:spcPct val="115000"/>
              </a:lnSpc>
              <a:spcAft>
                <a:spcPts val="1000"/>
              </a:spcAft>
            </a:pPr>
            <a:r>
              <a:rPr lang="en-ZA" sz="1800" b="1" dirty="0">
                <a:latin typeface="Arial Black" panose="020B0A04020102020204" pitchFamily="34" charset="0"/>
                <a:ea typeface="Calibri" panose="020F0502020204030204" pitchFamily="34" charset="0"/>
                <a:cs typeface="Arial" panose="020B0604020202020204" pitchFamily="34" charset="0"/>
              </a:rPr>
              <a:t>Knight Boksburg Shafts </a:t>
            </a:r>
            <a:r>
              <a:rPr lang="en-ZA" sz="1800" b="1" dirty="0">
                <a:solidFill>
                  <a:srgbClr val="FF0000"/>
                </a:solidFill>
                <a:latin typeface="Arial Black" panose="020B0A04020102020204" pitchFamily="34" charset="0"/>
                <a:ea typeface="Calibri" panose="020F0502020204030204" pitchFamily="34" charset="0"/>
                <a:cs typeface="Arial" panose="020B0604020202020204" pitchFamily="34" charset="0"/>
              </a:rPr>
              <a:t>Before</a:t>
            </a:r>
            <a:endParaRPr lang="en-ZA" sz="1800" dirty="0">
              <a:solidFill>
                <a:srgbClr val="FF0000"/>
              </a:solidFill>
              <a:latin typeface="Arial Black" panose="020B0A04020102020204" pitchFamily="34" charset="0"/>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xmlns="" id="{57DFAD41-D892-4192-A17B-BB8CFEBB9B2A}"/>
              </a:ext>
            </a:extLst>
          </p:cNvPr>
          <p:cNvSpPr/>
          <p:nvPr/>
        </p:nvSpPr>
        <p:spPr>
          <a:xfrm>
            <a:off x="4356100" y="5405610"/>
            <a:ext cx="3883755" cy="392030"/>
          </a:xfrm>
          <a:prstGeom prst="rect">
            <a:avLst/>
          </a:prstGeom>
        </p:spPr>
        <p:txBody>
          <a:bodyPr wrap="none">
            <a:spAutoFit/>
          </a:bodyPr>
          <a:lstStyle/>
          <a:p>
            <a:pPr lvl="0">
              <a:lnSpc>
                <a:spcPct val="115000"/>
              </a:lnSpc>
              <a:spcAft>
                <a:spcPts val="1000"/>
              </a:spcAft>
            </a:pPr>
            <a:r>
              <a:rPr lang="en-ZA" sz="1800" b="1" dirty="0">
                <a:solidFill>
                  <a:prstClr val="black"/>
                </a:solidFill>
                <a:latin typeface="Arial Black" panose="020B0A04020102020204" pitchFamily="34" charset="0"/>
                <a:ea typeface="Calibri" panose="020F0502020204030204" pitchFamily="34" charset="0"/>
                <a:cs typeface="Arial" panose="020B0604020202020204" pitchFamily="34" charset="0"/>
              </a:rPr>
              <a:t>Knight Boksburg Shafts </a:t>
            </a:r>
            <a:r>
              <a:rPr lang="en-ZA" sz="1800" b="1" dirty="0">
                <a:solidFill>
                  <a:srgbClr val="FF0000"/>
                </a:solidFill>
                <a:latin typeface="Arial Black" panose="020B0A04020102020204" pitchFamily="34" charset="0"/>
                <a:ea typeface="Calibri" panose="020F0502020204030204" pitchFamily="34" charset="0"/>
                <a:cs typeface="Arial" panose="020B0604020202020204" pitchFamily="34" charset="0"/>
              </a:rPr>
              <a:t>After</a:t>
            </a:r>
            <a:endParaRPr lang="en-ZA" sz="1800" dirty="0">
              <a:solidFill>
                <a:srgbClr val="FF0000"/>
              </a:solidFill>
              <a:latin typeface="Arial Black" panose="020B0A04020102020204" pitchFamily="34" charset="0"/>
              <a:ea typeface="Calibri" panose="020F0502020204030204" pitchFamily="34" charset="0"/>
              <a:cs typeface="Times New Roman" panose="02020603050405020304" pitchFamily="18" charset="0"/>
            </a:endParaRPr>
          </a:p>
        </p:txBody>
      </p:sp>
      <p:sp>
        <p:nvSpPr>
          <p:cNvPr id="8" name="Title 7">
            <a:extLst>
              <a:ext uri="{FF2B5EF4-FFF2-40B4-BE49-F238E27FC236}">
                <a16:creationId xmlns:a16="http://schemas.microsoft.com/office/drawing/2014/main" xmlns="" id="{F3476BF1-C6D7-48BD-B713-5C813DEC1F09}"/>
              </a:ext>
            </a:extLst>
          </p:cNvPr>
          <p:cNvSpPr>
            <a:spLocks noGrp="1"/>
          </p:cNvSpPr>
          <p:nvPr>
            <p:ph type="title"/>
          </p:nvPr>
        </p:nvSpPr>
        <p:spPr>
          <a:xfrm>
            <a:off x="109057" y="770600"/>
            <a:ext cx="8130798" cy="369332"/>
          </a:xfrm>
        </p:spPr>
        <p:txBody>
          <a:bodyPr/>
          <a:lstStyle/>
          <a:p>
            <a:r>
              <a:rPr lang="en-ZA" sz="2400" spc="-3" dirty="0">
                <a:solidFill>
                  <a:prstClr val="white"/>
                </a:solidFill>
              </a:rPr>
              <a:t>SHAFTS/HOLINGS SEALED </a:t>
            </a:r>
            <a:r>
              <a:rPr lang="en-ZA" sz="2400" spc="-3" dirty="0">
                <a:solidFill>
                  <a:srgbClr val="FF0000"/>
                </a:solidFill>
              </a:rPr>
              <a:t>CONTINUED</a:t>
            </a:r>
            <a:endParaRPr lang="en-ZA" sz="2400" dirty="0">
              <a:solidFill>
                <a:srgbClr val="FF0000"/>
              </a:solidFill>
            </a:endParaRPr>
          </a:p>
        </p:txBody>
      </p:sp>
    </p:spTree>
    <p:extLst>
      <p:ext uri="{BB962C8B-B14F-4D97-AF65-F5344CB8AC3E}">
        <p14:creationId xmlns:p14="http://schemas.microsoft.com/office/powerpoint/2010/main" xmlns="" val="1873855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2771" name="object 3"/>
          <p:cNvSpPr txBox="1">
            <a:spLocks noChangeArrowheads="1"/>
          </p:cNvSpPr>
          <p:nvPr/>
        </p:nvSpPr>
        <p:spPr bwMode="auto">
          <a:xfrm>
            <a:off x="395786" y="1323833"/>
            <a:ext cx="7783236" cy="6533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12415" marR="0" lvl="0" indent="-212415" algn="l" defTabSz="849660" rtl="0" eaLnBrk="1" fontAlgn="auto" latinLnBrk="0" hangingPunct="1">
              <a:lnSpc>
                <a:spcPct val="150000"/>
              </a:lnSpc>
              <a:spcBef>
                <a:spcPts val="0"/>
              </a:spcBef>
              <a:spcAft>
                <a:spcPts val="0"/>
              </a:spcAft>
              <a:buClrTx/>
              <a:buSzTx/>
              <a:buFont typeface="Wingdings" pitchFamily="2" charset="2"/>
              <a:buChar char="q"/>
              <a:tabLst/>
              <a:defRPr/>
            </a:pPr>
            <a:endParaRPr kumimoji="0" lang="en-US" altLang="en-US" sz="3200" b="0" i="0" u="none" strike="noStrike" kern="1200" cap="none" spc="0" normalizeH="0" baseline="0" noProof="0" dirty="0">
              <a:ln>
                <a:noFill/>
              </a:ln>
              <a:solidFill>
                <a:srgbClr val="00603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3</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xmlns="" id="{B8E807BB-CFA7-4CCD-A3A2-945A99078F06}"/>
              </a:ext>
            </a:extLst>
          </p:cNvPr>
          <p:cNvSpPr>
            <a:spLocks noGrp="1"/>
          </p:cNvSpPr>
          <p:nvPr>
            <p:ph type="title"/>
          </p:nvPr>
        </p:nvSpPr>
        <p:spPr>
          <a:xfrm>
            <a:off x="83891" y="713064"/>
            <a:ext cx="8192274" cy="369332"/>
          </a:xfrm>
        </p:spPr>
        <p:txBody>
          <a:bodyPr/>
          <a:lstStyle/>
          <a:p>
            <a:r>
              <a:rPr lang="en-ZA" sz="2400" spc="-3" dirty="0">
                <a:solidFill>
                  <a:prstClr val="white"/>
                </a:solidFill>
              </a:rPr>
              <a:t>SHAFTS/HOLINGS SEALED </a:t>
            </a:r>
            <a:r>
              <a:rPr lang="en-ZA" sz="2400" spc="-3" dirty="0">
                <a:solidFill>
                  <a:srgbClr val="FF0000"/>
                </a:solidFill>
              </a:rPr>
              <a:t>CONTINUED</a:t>
            </a:r>
            <a:endParaRPr lang="en-ZA" dirty="0"/>
          </a:p>
        </p:txBody>
      </p:sp>
      <p:pic>
        <p:nvPicPr>
          <p:cNvPr id="6" name="Picture 5">
            <a:extLst>
              <a:ext uri="{FF2B5EF4-FFF2-40B4-BE49-F238E27FC236}">
                <a16:creationId xmlns:a16="http://schemas.microsoft.com/office/drawing/2014/main" xmlns="" id="{52591716-A43B-4DD4-978C-928729BA1213}"/>
              </a:ext>
            </a:extLst>
          </p:cNvPr>
          <p:cNvPicPr/>
          <p:nvPr/>
        </p:nvPicPr>
        <p:blipFill>
          <a:blip r:embed="rId3">
            <a:extLst>
              <a:ext uri="{28A0092B-C50C-407E-A947-70E740481C1C}">
                <a14:useLocalDpi xmlns:a14="http://schemas.microsoft.com/office/drawing/2010/main" xmlns="" val="0"/>
              </a:ext>
            </a:extLst>
          </a:blip>
          <a:srcRect/>
          <a:stretch>
            <a:fillRect/>
          </a:stretch>
        </p:blipFill>
        <p:spPr bwMode="auto">
          <a:xfrm>
            <a:off x="404245" y="1285281"/>
            <a:ext cx="3901440" cy="3941060"/>
          </a:xfrm>
          <a:prstGeom prst="rect">
            <a:avLst/>
          </a:prstGeom>
          <a:noFill/>
          <a:ln>
            <a:noFill/>
          </a:ln>
        </p:spPr>
      </p:pic>
      <p:pic>
        <p:nvPicPr>
          <p:cNvPr id="7" name="Picture 6">
            <a:extLst>
              <a:ext uri="{FF2B5EF4-FFF2-40B4-BE49-F238E27FC236}">
                <a16:creationId xmlns:a16="http://schemas.microsoft.com/office/drawing/2014/main" xmlns="" id="{992F75FC-4E03-4148-9C9C-7CF77FA679AF}"/>
              </a:ext>
            </a:extLst>
          </p:cNvPr>
          <p:cNvPicPr/>
          <p:nvPr/>
        </p:nvPicPr>
        <p:blipFill>
          <a:blip r:embed="rId4">
            <a:extLst>
              <a:ext uri="{28A0092B-C50C-407E-A947-70E740481C1C}">
                <a14:useLocalDpi xmlns:a14="http://schemas.microsoft.com/office/drawing/2010/main" xmlns="" val="0"/>
              </a:ext>
            </a:extLst>
          </a:blip>
          <a:srcRect/>
          <a:stretch>
            <a:fillRect/>
          </a:stretch>
        </p:blipFill>
        <p:spPr bwMode="auto">
          <a:xfrm>
            <a:off x="4424798" y="1285281"/>
            <a:ext cx="3924300" cy="3941060"/>
          </a:xfrm>
          <a:prstGeom prst="rect">
            <a:avLst/>
          </a:prstGeom>
          <a:noFill/>
          <a:ln>
            <a:noFill/>
          </a:ln>
        </p:spPr>
      </p:pic>
      <p:sp>
        <p:nvSpPr>
          <p:cNvPr id="5" name="Rectangle 4">
            <a:extLst>
              <a:ext uri="{FF2B5EF4-FFF2-40B4-BE49-F238E27FC236}">
                <a16:creationId xmlns:a16="http://schemas.microsoft.com/office/drawing/2014/main" xmlns="" id="{14FE66EE-8D11-4173-9F2D-5BB61975CC29}"/>
              </a:ext>
            </a:extLst>
          </p:cNvPr>
          <p:cNvSpPr/>
          <p:nvPr/>
        </p:nvSpPr>
        <p:spPr>
          <a:xfrm>
            <a:off x="287596" y="5343670"/>
            <a:ext cx="3159519" cy="491930"/>
          </a:xfrm>
          <a:prstGeom prst="rect">
            <a:avLst/>
          </a:prstGeom>
        </p:spPr>
        <p:txBody>
          <a:bodyPr wrap="none">
            <a:spAutoFit/>
          </a:bodyPr>
          <a:lstStyle/>
          <a:p>
            <a:pPr>
              <a:lnSpc>
                <a:spcPct val="115000"/>
              </a:lnSpc>
              <a:spcAft>
                <a:spcPts val="1000"/>
              </a:spcAft>
            </a:pPr>
            <a:r>
              <a:rPr lang="en-ZA" sz="2400" b="1" dirty="0">
                <a:latin typeface="Arial Black" panose="020B0A04020102020204" pitchFamily="34" charset="0"/>
                <a:ea typeface="Calibri" panose="020F0502020204030204" pitchFamily="34" charset="0"/>
                <a:cs typeface="Arial" panose="020B0604020202020204" pitchFamily="34" charset="0"/>
              </a:rPr>
              <a:t>Emandleni </a:t>
            </a:r>
            <a:r>
              <a:rPr lang="en-ZA" sz="2400" b="1" dirty="0">
                <a:solidFill>
                  <a:srgbClr val="FF0000"/>
                </a:solidFill>
                <a:latin typeface="Arial Black" panose="020B0A04020102020204" pitchFamily="34" charset="0"/>
                <a:ea typeface="Calibri" panose="020F0502020204030204" pitchFamily="34" charset="0"/>
                <a:cs typeface="Arial" panose="020B0604020202020204" pitchFamily="34" charset="0"/>
              </a:rPr>
              <a:t>Before</a:t>
            </a:r>
            <a:endParaRPr lang="en-ZA" sz="2400" dirty="0">
              <a:solidFill>
                <a:srgbClr val="FF0000"/>
              </a:solidFill>
              <a:latin typeface="Arial Black" panose="020B0A04020102020204" pitchFamily="34" charset="0"/>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xmlns="" id="{C52B2848-2B01-4492-8B34-1CE9E4FE89A8}"/>
              </a:ext>
            </a:extLst>
          </p:cNvPr>
          <p:cNvSpPr/>
          <p:nvPr/>
        </p:nvSpPr>
        <p:spPr>
          <a:xfrm>
            <a:off x="4287404" y="5330332"/>
            <a:ext cx="2885726" cy="491930"/>
          </a:xfrm>
          <a:prstGeom prst="rect">
            <a:avLst/>
          </a:prstGeom>
        </p:spPr>
        <p:txBody>
          <a:bodyPr wrap="none">
            <a:spAutoFit/>
          </a:bodyPr>
          <a:lstStyle/>
          <a:p>
            <a:pPr lvl="0">
              <a:lnSpc>
                <a:spcPct val="115000"/>
              </a:lnSpc>
              <a:spcAft>
                <a:spcPts val="1000"/>
              </a:spcAft>
            </a:pPr>
            <a:r>
              <a:rPr lang="en-ZA" sz="2400" b="1" dirty="0">
                <a:solidFill>
                  <a:prstClr val="black"/>
                </a:solidFill>
                <a:latin typeface="Arial Black" panose="020B0A04020102020204" pitchFamily="34" charset="0"/>
                <a:ea typeface="Calibri" panose="020F0502020204030204" pitchFamily="34" charset="0"/>
                <a:cs typeface="Arial" panose="020B0604020202020204" pitchFamily="34" charset="0"/>
              </a:rPr>
              <a:t>Emandleni </a:t>
            </a:r>
            <a:r>
              <a:rPr lang="en-ZA" sz="2400" b="1" dirty="0">
                <a:solidFill>
                  <a:srgbClr val="FF0000"/>
                </a:solidFill>
                <a:latin typeface="Arial Black" panose="020B0A04020102020204" pitchFamily="34" charset="0"/>
                <a:ea typeface="Calibri" panose="020F0502020204030204" pitchFamily="34" charset="0"/>
                <a:cs typeface="Arial" panose="020B0604020202020204" pitchFamily="34" charset="0"/>
              </a:rPr>
              <a:t>After</a:t>
            </a:r>
            <a:endParaRPr lang="en-ZA" sz="2400" dirty="0">
              <a:solidFill>
                <a:srgbClr val="FF0000"/>
              </a:solidFill>
              <a:latin typeface="Arial Black" panose="020B0A040201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3353757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270912" y="795222"/>
            <a:ext cx="8461612" cy="285377"/>
          </a:xfrm>
        </p:spPr>
        <p:txBody>
          <a:bodyPr vert="horz" wrap="square" lIns="0" tIns="8297" rIns="0" bIns="0" numCol="1" rtlCol="0" anchor="t" anchorCtr="0" compatLnSpc="1">
            <a:prstTxWarp prst="textNoShape">
              <a:avLst/>
            </a:prstTxWarp>
            <a:spAutoFit/>
          </a:bodyPr>
          <a:lstStyle/>
          <a:p>
            <a:pPr marL="8297" algn="l" eaLnBrk="1" fontAlgn="auto" hangingPunct="1">
              <a:spcBef>
                <a:spcPts val="65"/>
              </a:spcBef>
              <a:spcAft>
                <a:spcPts val="0"/>
              </a:spcAft>
              <a:defRPr/>
            </a:pPr>
            <a:r>
              <a:rPr lang="en-ZA" sz="1800" dirty="0">
                <a:latin typeface="Arial" panose="020B0604020202020204" pitchFamily="34" charset="0"/>
                <a:cs typeface="Arial" panose="020B0604020202020204" pitchFamily="34" charset="0"/>
              </a:rPr>
              <a:t>2019/20 COMPLETED ASBESTOS REHABILITATED SITES MINE SITES</a:t>
            </a:r>
            <a:endParaRPr sz="1800" spc="-3" dirty="0"/>
          </a:p>
        </p:txBody>
      </p:sp>
      <p:sp>
        <p:nvSpPr>
          <p:cNvPr id="51203" name="object 3"/>
          <p:cNvSpPr>
            <a:spLocks noGrp="1"/>
          </p:cNvSpPr>
          <p:nvPr>
            <p:ph type="body" idx="1"/>
          </p:nvPr>
        </p:nvSpPr>
        <p:spPr>
          <a:xfrm>
            <a:off x="368490" y="1080599"/>
            <a:ext cx="8093122" cy="514670"/>
          </a:xfrm>
        </p:spPr>
        <p:txBody>
          <a:bodyPr vert="horz" wrap="square" lIns="0" tIns="8297" rIns="0" bIns="0" numCol="1" anchor="t" anchorCtr="0" compatLnSpc="1">
            <a:prstTxWarp prst="textNoShape">
              <a:avLst/>
            </a:prstTxWarp>
            <a:spAutoFit/>
          </a:bodyPr>
          <a:lstStyle/>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spcAft>
                <a:spcPts val="0"/>
              </a:spcAft>
            </a:pPr>
            <a:r>
              <a:rPr lang="en-GB" sz="1400" dirty="0">
                <a:latin typeface="Century Gothic" panose="020B0502020202020204" pitchFamily="34" charset="0"/>
                <a:ea typeface="Calibri" panose="020F0502020204030204" pitchFamily="34" charset="0"/>
                <a:cs typeface="Tahoma" panose="020B0604030504040204" pitchFamily="34" charset="0"/>
              </a:rPr>
              <a:t> </a:t>
            </a: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a:defRPr/>
            </a:pPr>
            <a:fld id="{6757DF30-2317-4A1D-86CC-8BFEF4250C95}" type="slidenum">
              <a:rPr lang="en-US" altLang="en-US" smtClean="0"/>
              <a:pPr>
                <a:defRPr/>
              </a:pPr>
              <a:t>14</a:t>
            </a:fld>
            <a:endParaRPr lang="en-US" altLang="en-US" dirty="0"/>
          </a:p>
        </p:txBody>
      </p:sp>
      <p:pic>
        <p:nvPicPr>
          <p:cNvPr id="6" name="Picture 5">
            <a:extLst>
              <a:ext uri="{FF2B5EF4-FFF2-40B4-BE49-F238E27FC236}">
                <a16:creationId xmlns:a16="http://schemas.microsoft.com/office/drawing/2014/main" xmlns="" id="{F673D853-825A-4455-BDE6-2F56717947DC}"/>
              </a:ext>
            </a:extLst>
          </p:cNvPr>
          <p:cNvPicPr/>
          <p:nvPr/>
        </p:nvPicPr>
        <p:blipFill rotWithShape="1">
          <a:blip r:embed="rId3"/>
          <a:srcRect l="36374" t="41717" r="26982" b="19844"/>
          <a:stretch/>
        </p:blipFill>
        <p:spPr bwMode="auto">
          <a:xfrm>
            <a:off x="368489" y="1252930"/>
            <a:ext cx="3609822" cy="2274501"/>
          </a:xfrm>
          <a:prstGeom prst="rect">
            <a:avLst/>
          </a:prstGeom>
          <a:ln>
            <a:noFill/>
          </a:ln>
          <a:extLst>
            <a:ext uri="{53640926-AAD7-44D8-BBD7-CCE9431645EC}">
              <a14:shadowObscured xmlns:a14="http://schemas.microsoft.com/office/drawing/2010/main" xmlns=""/>
            </a:ext>
          </a:extLst>
        </p:spPr>
      </p:pic>
      <p:pic>
        <p:nvPicPr>
          <p:cNvPr id="7" name="Picture 6">
            <a:extLst>
              <a:ext uri="{FF2B5EF4-FFF2-40B4-BE49-F238E27FC236}">
                <a16:creationId xmlns:a16="http://schemas.microsoft.com/office/drawing/2014/main" xmlns="" id="{02306EF7-C89A-44CA-B9F7-4C3184083D14}"/>
              </a:ext>
            </a:extLst>
          </p:cNvPr>
          <p:cNvPicPr/>
          <p:nvPr/>
        </p:nvPicPr>
        <p:blipFill rotWithShape="1">
          <a:blip r:embed="rId4"/>
          <a:srcRect l="36064" t="19737" r="26567" b="30136"/>
          <a:stretch/>
        </p:blipFill>
        <p:spPr bwMode="auto">
          <a:xfrm>
            <a:off x="2357306" y="3700335"/>
            <a:ext cx="3967771" cy="2153241"/>
          </a:xfrm>
          <a:prstGeom prst="rect">
            <a:avLst/>
          </a:prstGeom>
          <a:ln>
            <a:noFill/>
          </a:ln>
          <a:extLst>
            <a:ext uri="{53640926-AAD7-44D8-BBD7-CCE9431645EC}">
              <a14:shadowObscured xmlns:a14="http://schemas.microsoft.com/office/drawing/2010/main" xmlns=""/>
            </a:ext>
          </a:extLst>
        </p:spPr>
      </p:pic>
      <p:sp>
        <p:nvSpPr>
          <p:cNvPr id="3" name="Rectangle 2">
            <a:extLst>
              <a:ext uri="{FF2B5EF4-FFF2-40B4-BE49-F238E27FC236}">
                <a16:creationId xmlns:a16="http://schemas.microsoft.com/office/drawing/2014/main" xmlns="" id="{51658FA0-A2DC-4EA4-95EA-33CEA9F7AD16}"/>
              </a:ext>
            </a:extLst>
          </p:cNvPr>
          <p:cNvSpPr/>
          <p:nvPr/>
        </p:nvSpPr>
        <p:spPr>
          <a:xfrm>
            <a:off x="270912" y="3461839"/>
            <a:ext cx="2794804" cy="337913"/>
          </a:xfrm>
          <a:prstGeom prst="rect">
            <a:avLst/>
          </a:prstGeom>
        </p:spPr>
        <p:txBody>
          <a:bodyPr wrap="none">
            <a:spAutoFit/>
          </a:bodyPr>
          <a:lstStyle/>
          <a:p>
            <a:pPr lvl="0" algn="ctr"/>
            <a:r>
              <a:rPr lang="en-US" b="1" dirty="0">
                <a:solidFill>
                  <a:prstClr val="black"/>
                </a:solidFill>
                <a:latin typeface="Arial"/>
              </a:rPr>
              <a:t>Stratham Asbestos Project</a:t>
            </a:r>
          </a:p>
        </p:txBody>
      </p:sp>
      <p:sp>
        <p:nvSpPr>
          <p:cNvPr id="8" name="Rectangle 7">
            <a:extLst>
              <a:ext uri="{FF2B5EF4-FFF2-40B4-BE49-F238E27FC236}">
                <a16:creationId xmlns:a16="http://schemas.microsoft.com/office/drawing/2014/main" xmlns="" id="{D5416F55-1EB1-4047-8C68-25BFBDA28008}"/>
              </a:ext>
            </a:extLst>
          </p:cNvPr>
          <p:cNvSpPr/>
          <p:nvPr/>
        </p:nvSpPr>
        <p:spPr>
          <a:xfrm>
            <a:off x="2977129" y="5776080"/>
            <a:ext cx="3209215" cy="337913"/>
          </a:xfrm>
          <a:prstGeom prst="rect">
            <a:avLst/>
          </a:prstGeom>
        </p:spPr>
        <p:txBody>
          <a:bodyPr wrap="square">
            <a:spAutoFit/>
          </a:bodyPr>
          <a:lstStyle/>
          <a:p>
            <a:pPr lvl="0"/>
            <a:r>
              <a:rPr lang="en-US" b="1" dirty="0">
                <a:solidFill>
                  <a:prstClr val="black"/>
                </a:solidFill>
                <a:latin typeface="Arial"/>
              </a:rPr>
              <a:t>Msauli Asbestos Project</a:t>
            </a:r>
          </a:p>
        </p:txBody>
      </p:sp>
      <p:sp>
        <p:nvSpPr>
          <p:cNvPr id="9" name="Rectangle 8">
            <a:extLst>
              <a:ext uri="{FF2B5EF4-FFF2-40B4-BE49-F238E27FC236}">
                <a16:creationId xmlns:a16="http://schemas.microsoft.com/office/drawing/2014/main" xmlns="" id="{B8C00433-89E1-48CF-9623-2D1DA8206181}"/>
              </a:ext>
            </a:extLst>
          </p:cNvPr>
          <p:cNvSpPr/>
          <p:nvPr/>
        </p:nvSpPr>
        <p:spPr>
          <a:xfrm>
            <a:off x="4765921" y="3443322"/>
            <a:ext cx="2918235" cy="337913"/>
          </a:xfrm>
          <a:prstGeom prst="rect">
            <a:avLst/>
          </a:prstGeom>
        </p:spPr>
        <p:txBody>
          <a:bodyPr wrap="none">
            <a:spAutoFit/>
          </a:bodyPr>
          <a:lstStyle/>
          <a:p>
            <a:pPr lvl="0" algn="ctr"/>
            <a:r>
              <a:rPr lang="en-US" b="1" dirty="0" err="1">
                <a:solidFill>
                  <a:prstClr val="black"/>
                </a:solidFill>
                <a:latin typeface="Arial"/>
              </a:rPr>
              <a:t>Steelpoort</a:t>
            </a:r>
            <a:r>
              <a:rPr lang="en-US" b="1" dirty="0">
                <a:solidFill>
                  <a:prstClr val="black"/>
                </a:solidFill>
                <a:latin typeface="Arial"/>
              </a:rPr>
              <a:t> Asbestos Project</a:t>
            </a:r>
          </a:p>
        </p:txBody>
      </p:sp>
      <p:pic>
        <p:nvPicPr>
          <p:cNvPr id="12" name="Picture 11" descr="A picture containing outdoor, sky, ground, mountain&#10;&#10;Description automatically generated">
            <a:extLst>
              <a:ext uri="{FF2B5EF4-FFF2-40B4-BE49-F238E27FC236}">
                <a16:creationId xmlns:a16="http://schemas.microsoft.com/office/drawing/2014/main" xmlns="" id="{EE7EC627-57AD-443A-8FC3-AA973D06E0DF}"/>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4581737" y="1252930"/>
            <a:ext cx="3789895" cy="2241040"/>
          </a:xfrm>
          <a:prstGeom prst="rect">
            <a:avLst/>
          </a:prstGeom>
        </p:spPr>
      </p:pic>
    </p:spTree>
    <p:extLst>
      <p:ext uri="{BB962C8B-B14F-4D97-AF65-F5344CB8AC3E}">
        <p14:creationId xmlns:p14="http://schemas.microsoft.com/office/powerpoint/2010/main" xmlns="" val="3650977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250588" y="646891"/>
            <a:ext cx="8590327" cy="562376"/>
          </a:xfrm>
        </p:spPr>
        <p:txBody>
          <a:bodyPr vert="horz" wrap="square" lIns="0" tIns="8297" rIns="0" bIns="0" numCol="1" rtlCol="0" anchor="t" anchorCtr="0" compatLnSpc="1">
            <a:prstTxWarp prst="textNoShape">
              <a:avLst/>
            </a:prstTxWarp>
            <a:spAutoFit/>
          </a:bodyPr>
          <a:lstStyle/>
          <a:p>
            <a:pPr marL="8297" algn="l" eaLnBrk="1" fontAlgn="auto" hangingPunct="1">
              <a:spcBef>
                <a:spcPts val="65"/>
              </a:spcBef>
              <a:spcAft>
                <a:spcPts val="0"/>
              </a:spcAft>
              <a:defRPr/>
            </a:pPr>
            <a:r>
              <a:rPr lang="en-ZA" sz="1800" dirty="0">
                <a:latin typeface="Arial" panose="020B0604020202020204" pitchFamily="34" charset="0"/>
                <a:cs typeface="Arial" panose="020B0604020202020204" pitchFamily="34" charset="0"/>
              </a:rPr>
              <a:t>REHABILITATION OF ASBESTOS SITES AND SEALING OF SHAFTS </a:t>
            </a:r>
            <a:br>
              <a:rPr lang="en-ZA" sz="1800" dirty="0">
                <a:latin typeface="Arial" panose="020B0604020202020204" pitchFamily="34" charset="0"/>
                <a:cs typeface="Arial" panose="020B0604020202020204" pitchFamily="34" charset="0"/>
              </a:rPr>
            </a:br>
            <a:r>
              <a:rPr lang="en-ZA" sz="1800" dirty="0">
                <a:latin typeface="Arial" panose="020B0604020202020204" pitchFamily="34" charset="0"/>
                <a:cs typeface="Arial" panose="020B0604020202020204" pitchFamily="34" charset="0"/>
              </a:rPr>
              <a:t>                                               IN THE  2020/21 FY</a:t>
            </a:r>
            <a:endParaRPr spc="-3" dirty="0"/>
          </a:p>
        </p:txBody>
      </p:sp>
      <p:sp>
        <p:nvSpPr>
          <p:cNvPr id="51203" name="object 3"/>
          <p:cNvSpPr>
            <a:spLocks noGrp="1"/>
          </p:cNvSpPr>
          <p:nvPr>
            <p:ph type="body" idx="1"/>
          </p:nvPr>
        </p:nvSpPr>
        <p:spPr>
          <a:xfrm>
            <a:off x="368490" y="1080599"/>
            <a:ext cx="8093122" cy="514670"/>
          </a:xfrm>
        </p:spPr>
        <p:txBody>
          <a:bodyPr vert="horz" wrap="square" lIns="0" tIns="8297" rIns="0" bIns="0" numCol="1" anchor="t" anchorCtr="0" compatLnSpc="1">
            <a:prstTxWarp prst="textNoShape">
              <a:avLst/>
            </a:prstTxWarp>
            <a:spAutoFit/>
          </a:bodyPr>
          <a:lstStyle/>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spcAft>
                <a:spcPts val="0"/>
              </a:spcAft>
            </a:pPr>
            <a:r>
              <a:rPr lang="en-GB" sz="1400" dirty="0">
                <a:latin typeface="Century Gothic" panose="020B0502020202020204" pitchFamily="34" charset="0"/>
                <a:ea typeface="Calibri" panose="020F0502020204030204" pitchFamily="34" charset="0"/>
                <a:cs typeface="Tahoma" panose="020B0604030504040204" pitchFamily="34" charset="0"/>
              </a:rPr>
              <a:t> </a:t>
            </a: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5</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3" name="Rectangle 2">
            <a:extLst>
              <a:ext uri="{FF2B5EF4-FFF2-40B4-BE49-F238E27FC236}">
                <a16:creationId xmlns:a16="http://schemas.microsoft.com/office/drawing/2014/main" xmlns="" id="{EAD47CE6-C9F1-4AFC-B6D8-400654104D94}"/>
              </a:ext>
            </a:extLst>
          </p:cNvPr>
          <p:cNvSpPr/>
          <p:nvPr/>
        </p:nvSpPr>
        <p:spPr>
          <a:xfrm>
            <a:off x="250588" y="1337934"/>
            <a:ext cx="8211024" cy="3353226"/>
          </a:xfrm>
          <a:prstGeom prst="rect">
            <a:avLst/>
          </a:prstGeom>
        </p:spPr>
        <p:txBody>
          <a:bodyPr wrap="square">
            <a:spAutoFit/>
          </a:bodyPr>
          <a:lstStyle/>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
              <a:tabLst/>
              <a:defRPr/>
            </a:pPr>
            <a:endParaRPr kumimoji="0" lang="en-US" sz="2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r>
              <a:rPr lang="en-US" sz="2400" dirty="0">
                <a:solidFill>
                  <a:prstClr val="black">
                    <a:lumMod val="75000"/>
                    <a:lumOff val="25000"/>
                  </a:prstClr>
                </a:solidFill>
                <a:latin typeface="Arial" panose="020B0604020202020204" pitchFamily="34" charset="0"/>
                <a:cs typeface="Arial" panose="020B0604020202020204" pitchFamily="34" charset="0"/>
              </a:rPr>
              <a:t>During the second quarter of 2020, 14 dangerous shafts/</a:t>
            </a:r>
            <a:r>
              <a:rPr lang="en-US" sz="2400" dirty="0" err="1">
                <a:solidFill>
                  <a:prstClr val="black">
                    <a:lumMod val="75000"/>
                    <a:lumOff val="25000"/>
                  </a:prstClr>
                </a:solidFill>
                <a:latin typeface="Arial" panose="020B0604020202020204" pitchFamily="34" charset="0"/>
                <a:cs typeface="Arial" panose="020B0604020202020204" pitchFamily="34" charset="0"/>
              </a:rPr>
              <a:t>holings</a:t>
            </a:r>
            <a:r>
              <a:rPr lang="en-US" sz="2400" dirty="0">
                <a:solidFill>
                  <a:prstClr val="black">
                    <a:lumMod val="75000"/>
                    <a:lumOff val="25000"/>
                  </a:prstClr>
                </a:solidFill>
                <a:latin typeface="Arial" panose="020B0604020202020204" pitchFamily="34" charset="0"/>
                <a:cs typeface="Arial" panose="020B0604020202020204" pitchFamily="34" charset="0"/>
              </a:rPr>
              <a:t> have been sealed.  The remaining 26 will be completed in the third and fourth quarter.</a:t>
            </a:r>
          </a:p>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endParaRPr lang="en-US" sz="2400" dirty="0">
              <a:solidFill>
                <a:prstClr val="black">
                  <a:lumMod val="75000"/>
                  <a:lumOff val="25000"/>
                </a:prstClr>
              </a:solidFill>
              <a:latin typeface="Arial" panose="020B0604020202020204" pitchFamily="34" charset="0"/>
              <a:cs typeface="Arial" panose="020B0604020202020204" pitchFamily="34" charset="0"/>
            </a:endParaRPr>
          </a:p>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r>
              <a:rPr kumimoji="0" lang="en-US" sz="2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Three (3) </a:t>
            </a:r>
            <a:r>
              <a:rPr kumimoji="0" lang="en-US" sz="2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Asbestos Mine Sites in the Limpopo Province  are </a:t>
            </a:r>
            <a:r>
              <a:rPr lang="en-US" sz="2400" dirty="0">
                <a:solidFill>
                  <a:prstClr val="black">
                    <a:lumMod val="75000"/>
                    <a:lumOff val="25000"/>
                  </a:prstClr>
                </a:solidFill>
                <a:latin typeface="Arial" panose="020B0604020202020204" pitchFamily="34" charset="0"/>
                <a:cs typeface="Arial" panose="020B0604020202020204" pitchFamily="34" charset="0"/>
              </a:rPr>
              <a:t>currently in construction. They include </a:t>
            </a:r>
            <a:r>
              <a:rPr kumimoji="0" lang="en-US" sz="24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Uitkyk</a:t>
            </a:r>
            <a:r>
              <a:rPr kumimoji="0" lang="en-US" sz="2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a:t>
            </a:r>
            <a:r>
              <a:rPr kumimoji="0" lang="en-US" sz="24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Lagerdraai</a:t>
            </a:r>
            <a:r>
              <a:rPr kumimoji="0" lang="en-US" sz="2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both at Ga-</a:t>
            </a:r>
            <a:r>
              <a:rPr kumimoji="0" lang="en-US" sz="24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Mathabatha</a:t>
            </a:r>
            <a:r>
              <a:rPr kumimoji="0" lang="en-US" sz="2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and Penge Village (at Burgersfort).</a:t>
            </a:r>
          </a:p>
        </p:txBody>
      </p:sp>
    </p:spTree>
    <p:extLst>
      <p:ext uri="{BB962C8B-B14F-4D97-AF65-F5344CB8AC3E}">
        <p14:creationId xmlns:p14="http://schemas.microsoft.com/office/powerpoint/2010/main" xmlns="" val="3826754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object 2"/>
          <p:cNvSpPr txBox="1">
            <a:spLocks noGrp="1"/>
          </p:cNvSpPr>
          <p:nvPr>
            <p:ph type="title"/>
          </p:nvPr>
        </p:nvSpPr>
        <p:spPr>
          <a:xfrm>
            <a:off x="419450" y="769938"/>
            <a:ext cx="7239699" cy="470043"/>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US" sz="3000" kern="1200" dirty="0">
                <a:solidFill>
                  <a:prstClr val="white"/>
                </a:solidFill>
                <a:latin typeface="Arial" panose="020B0604020202020204" pitchFamily="34" charset="0"/>
                <a:cs typeface="Arial" panose="020B0604020202020204" pitchFamily="34" charset="0"/>
              </a:rPr>
              <a:t>WORK OPPORTUNITIES</a:t>
            </a:r>
            <a:endParaRPr lang="en-US" sz="2800" dirty="0"/>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6</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graphicFrame>
        <p:nvGraphicFramePr>
          <p:cNvPr id="6" name="Content Placeholder 12">
            <a:extLst>
              <a:ext uri="{FF2B5EF4-FFF2-40B4-BE49-F238E27FC236}">
                <a16:creationId xmlns:a16="http://schemas.microsoft.com/office/drawing/2014/main" xmlns="" id="{B32C7401-A856-4923-8687-A569A0A8646E}"/>
              </a:ext>
            </a:extLst>
          </p:cNvPr>
          <p:cNvGraphicFramePr>
            <a:graphicFrameLocks/>
          </p:cNvGraphicFramePr>
          <p:nvPr>
            <p:extLst>
              <p:ext uri="{D42A27DB-BD31-4B8C-83A1-F6EECF244321}">
                <p14:modId xmlns:p14="http://schemas.microsoft.com/office/powerpoint/2010/main" xmlns="" val="537209447"/>
              </p:ext>
            </p:extLst>
          </p:nvPr>
        </p:nvGraphicFramePr>
        <p:xfrm>
          <a:off x="199786" y="1429192"/>
          <a:ext cx="8291071" cy="3169623"/>
        </p:xfrm>
        <a:graphic>
          <a:graphicData uri="http://schemas.openxmlformats.org/drawingml/2006/table">
            <a:tbl>
              <a:tblPr firstRow="1" firstCol="1" bandRow="1">
                <a:tableStyleId>{5C22544A-7EE6-4342-B048-85BDC9FD1C3A}</a:tableStyleId>
              </a:tblPr>
              <a:tblGrid>
                <a:gridCol w="315044">
                  <a:extLst>
                    <a:ext uri="{9D8B030D-6E8A-4147-A177-3AD203B41FA5}">
                      <a16:colId xmlns:a16="http://schemas.microsoft.com/office/drawing/2014/main" xmlns="" val="1283350423"/>
                    </a:ext>
                  </a:extLst>
                </a:gridCol>
                <a:gridCol w="2720151">
                  <a:extLst>
                    <a:ext uri="{9D8B030D-6E8A-4147-A177-3AD203B41FA5}">
                      <a16:colId xmlns:a16="http://schemas.microsoft.com/office/drawing/2014/main" xmlns="" val="3478679424"/>
                    </a:ext>
                  </a:extLst>
                </a:gridCol>
                <a:gridCol w="959159">
                  <a:extLst>
                    <a:ext uri="{9D8B030D-6E8A-4147-A177-3AD203B41FA5}">
                      <a16:colId xmlns:a16="http://schemas.microsoft.com/office/drawing/2014/main" xmlns="" val="1583543228"/>
                    </a:ext>
                  </a:extLst>
                </a:gridCol>
                <a:gridCol w="966956">
                  <a:extLst>
                    <a:ext uri="{9D8B030D-6E8A-4147-A177-3AD203B41FA5}">
                      <a16:colId xmlns:a16="http://schemas.microsoft.com/office/drawing/2014/main" xmlns="" val="451628683"/>
                    </a:ext>
                  </a:extLst>
                </a:gridCol>
                <a:gridCol w="982552">
                  <a:extLst>
                    <a:ext uri="{9D8B030D-6E8A-4147-A177-3AD203B41FA5}">
                      <a16:colId xmlns:a16="http://schemas.microsoft.com/office/drawing/2014/main" xmlns="" val="3912835216"/>
                    </a:ext>
                  </a:extLst>
                </a:gridCol>
                <a:gridCol w="959158">
                  <a:extLst>
                    <a:ext uri="{9D8B030D-6E8A-4147-A177-3AD203B41FA5}">
                      <a16:colId xmlns:a16="http://schemas.microsoft.com/office/drawing/2014/main" xmlns="" val="2933668415"/>
                    </a:ext>
                  </a:extLst>
                </a:gridCol>
                <a:gridCol w="1388051">
                  <a:extLst>
                    <a:ext uri="{9D8B030D-6E8A-4147-A177-3AD203B41FA5}">
                      <a16:colId xmlns:a16="http://schemas.microsoft.com/office/drawing/2014/main" xmlns="" val="3686060885"/>
                    </a:ext>
                  </a:extLst>
                </a:gridCol>
              </a:tblGrid>
              <a:tr h="0">
                <a:tc>
                  <a:txBody>
                    <a:bodyPr/>
                    <a:lstStyle/>
                    <a:p>
                      <a:pPr marL="0" marR="0">
                        <a:lnSpc>
                          <a:spcPct val="107000"/>
                        </a:lnSpc>
                        <a:spcBef>
                          <a:spcPts val="0"/>
                        </a:spcBef>
                        <a:spcAft>
                          <a:spcPts val="0"/>
                        </a:spcAft>
                      </a:pPr>
                      <a:r>
                        <a:rPr lang="en-US" sz="1400" dirty="0">
                          <a:effectLst/>
                        </a:rPr>
                        <a:t>SEQ</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rPr>
                        <a:t>PROJECT NAM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rPr>
                        <a:t>PROVINCE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653430" rtl="0" eaLnBrk="1" fontAlgn="auto" latinLnBrk="0" hangingPunct="1">
                        <a:lnSpc>
                          <a:spcPct val="107000"/>
                        </a:lnSpc>
                        <a:spcBef>
                          <a:spcPts val="0"/>
                        </a:spcBef>
                        <a:spcAft>
                          <a:spcPts val="0"/>
                        </a:spcAft>
                        <a:buClrTx/>
                        <a:buSzTx/>
                        <a:buFontTx/>
                        <a:buNone/>
                        <a:tabLst/>
                        <a:defRPr/>
                      </a:pPr>
                      <a:r>
                        <a:rPr lang="en-US" sz="1400" dirty="0">
                          <a:effectLst/>
                        </a:rPr>
                        <a:t>Number of Women Employed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653430" rtl="0" eaLnBrk="1" fontAlgn="auto" latinLnBrk="0" hangingPunct="1">
                        <a:lnSpc>
                          <a:spcPct val="107000"/>
                        </a:lnSpc>
                        <a:spcBef>
                          <a:spcPts val="0"/>
                        </a:spcBef>
                        <a:spcAft>
                          <a:spcPts val="0"/>
                        </a:spcAft>
                        <a:buClrTx/>
                        <a:buSzTx/>
                        <a:buFontTx/>
                        <a:buNone/>
                        <a:tabLst/>
                        <a:defRPr/>
                      </a:pPr>
                      <a:r>
                        <a:rPr lang="en-US" sz="1400" dirty="0">
                          <a:effectLst/>
                        </a:rPr>
                        <a:t>Number of Male Employed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lvl="0" indent="0" algn="l" defTabSz="653430" rtl="0" eaLnBrk="1" fontAlgn="auto" latinLnBrk="0" hangingPunct="1">
                        <a:lnSpc>
                          <a:spcPct val="107000"/>
                        </a:lnSpc>
                        <a:spcBef>
                          <a:spcPts val="0"/>
                        </a:spcBef>
                        <a:spcAft>
                          <a:spcPts val="0"/>
                        </a:spcAft>
                        <a:buClrTx/>
                        <a:buSzTx/>
                        <a:buFontTx/>
                        <a:buNone/>
                        <a:tabLst/>
                        <a:defRPr/>
                      </a:pPr>
                      <a:r>
                        <a:rPr lang="en-US" sz="1400" dirty="0">
                          <a:effectLst/>
                        </a:rPr>
                        <a:t>Number of Youths Employed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400" dirty="0">
                          <a:effectLst/>
                        </a:rPr>
                        <a:t>WORK OPPORTUNITIES CREATED</a:t>
                      </a:r>
                    </a:p>
                    <a:p>
                      <a:pPr marL="0" marR="0">
                        <a:lnSpc>
                          <a:spcPct val="107000"/>
                        </a:lnSpc>
                        <a:spcBef>
                          <a:spcPts val="0"/>
                        </a:spcBef>
                        <a:spcAft>
                          <a:spcPts val="0"/>
                        </a:spcAft>
                      </a:pPr>
                      <a:r>
                        <a:rPr lang="en-US" sz="14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05256758"/>
                  </a:ext>
                </a:extLst>
              </a:tr>
              <a:tr h="209569">
                <a:tc>
                  <a:txBody>
                    <a:bodyPr/>
                    <a:lstStyle/>
                    <a:p>
                      <a:pPr marL="0" marR="0">
                        <a:lnSpc>
                          <a:spcPct val="107000"/>
                        </a:lnSpc>
                        <a:spcBef>
                          <a:spcPts val="0"/>
                        </a:spcBef>
                        <a:spcAft>
                          <a:spcPts val="0"/>
                        </a:spcAft>
                      </a:pPr>
                      <a:r>
                        <a:rPr lang="en-US" sz="1400">
                          <a:effectLst/>
                        </a:rPr>
                        <a:t>1</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PENGE </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latin typeface="+mj-lt"/>
                        </a:rPr>
                        <a:t>LIMPOPO</a:t>
                      </a:r>
                      <a:endParaRPr lang="en-US" sz="12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5</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6</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7</a:t>
                      </a:r>
                    </a:p>
                  </a:txBody>
                  <a:tcPr marL="68580" marR="68580" marT="0" marB="0"/>
                </a:tc>
                <a:tc>
                  <a:txBody>
                    <a:bodyPr/>
                    <a:lstStyle/>
                    <a:p>
                      <a:pPr marL="0" marR="0">
                        <a:lnSpc>
                          <a:spcPct val="107000"/>
                        </a:lnSpc>
                        <a:spcBef>
                          <a:spcPts val="0"/>
                        </a:spcBef>
                        <a:spcAft>
                          <a:spcPts val="0"/>
                        </a:spcAft>
                      </a:pPr>
                      <a:r>
                        <a:rPr lang="en-US" sz="1200" dirty="0">
                          <a:effectLst/>
                          <a:latin typeface="+mj-lt"/>
                        </a:rPr>
                        <a:t>11</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62245242"/>
                  </a:ext>
                </a:extLst>
              </a:tr>
              <a:tr h="209569">
                <a:tc>
                  <a:txBody>
                    <a:bodyPr/>
                    <a:lstStyle/>
                    <a:p>
                      <a:pPr marL="0" marR="0">
                        <a:lnSpc>
                          <a:spcPct val="107000"/>
                        </a:lnSpc>
                        <a:spcBef>
                          <a:spcPts val="0"/>
                        </a:spcBef>
                        <a:spcAft>
                          <a:spcPts val="0"/>
                        </a:spcAft>
                      </a:pPr>
                      <a:r>
                        <a:rPr lang="en-US" sz="1400">
                          <a:effectLst/>
                        </a:rPr>
                        <a:t>2</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STREATHAM 2</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latin typeface="+mj-lt"/>
                        </a:rPr>
                        <a:t>LIMPOPO</a:t>
                      </a:r>
                      <a:endParaRPr lang="en-US" sz="12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4</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5</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8</a:t>
                      </a:r>
                    </a:p>
                  </a:txBody>
                  <a:tcPr marL="68580" marR="68580" marT="0" marB="0"/>
                </a:tc>
                <a:tc>
                  <a:txBody>
                    <a:bodyPr/>
                    <a:lstStyle/>
                    <a:p>
                      <a:pPr marL="0" marR="0">
                        <a:lnSpc>
                          <a:spcPct val="107000"/>
                        </a:lnSpc>
                        <a:spcBef>
                          <a:spcPts val="0"/>
                        </a:spcBef>
                        <a:spcAft>
                          <a:spcPts val="0"/>
                        </a:spcAft>
                      </a:pPr>
                      <a:r>
                        <a:rPr lang="en-US" sz="1200" dirty="0">
                          <a:effectLst/>
                          <a:latin typeface="+mj-lt"/>
                        </a:rPr>
                        <a:t>29</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299868783"/>
                  </a:ext>
                </a:extLst>
              </a:tr>
              <a:tr h="209569">
                <a:tc>
                  <a:txBody>
                    <a:bodyPr/>
                    <a:lstStyle/>
                    <a:p>
                      <a:pPr marL="0" marR="0">
                        <a:lnSpc>
                          <a:spcPct val="107000"/>
                        </a:lnSpc>
                        <a:spcBef>
                          <a:spcPts val="0"/>
                        </a:spcBef>
                        <a:spcAft>
                          <a:spcPts val="0"/>
                        </a:spcAft>
                      </a:pPr>
                      <a:r>
                        <a:rPr lang="en-US" sz="1400">
                          <a:effectLst/>
                        </a:rPr>
                        <a:t>3</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STREATHAM 3</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LIMPOPO</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7</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9</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22</a:t>
                      </a:r>
                    </a:p>
                  </a:txBody>
                  <a:tcPr marL="68580" marR="68580" marT="0" marB="0"/>
                </a:tc>
                <a:tc>
                  <a:txBody>
                    <a:bodyPr/>
                    <a:lstStyle/>
                    <a:p>
                      <a:pPr marL="0" marR="0">
                        <a:lnSpc>
                          <a:spcPct val="107000"/>
                        </a:lnSpc>
                        <a:spcBef>
                          <a:spcPts val="0"/>
                        </a:spcBef>
                        <a:spcAft>
                          <a:spcPts val="0"/>
                        </a:spcAft>
                      </a:pPr>
                      <a:r>
                        <a:rPr lang="en-US" sz="1200" dirty="0">
                          <a:effectLst/>
                          <a:latin typeface="+mj-lt"/>
                        </a:rPr>
                        <a:t>36</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32106330"/>
                  </a:ext>
                </a:extLst>
              </a:tr>
              <a:tr h="209569">
                <a:tc>
                  <a:txBody>
                    <a:bodyPr/>
                    <a:lstStyle/>
                    <a:p>
                      <a:pPr marL="0" marR="0">
                        <a:lnSpc>
                          <a:spcPct val="107000"/>
                        </a:lnSpc>
                        <a:spcBef>
                          <a:spcPts val="0"/>
                        </a:spcBef>
                        <a:spcAft>
                          <a:spcPts val="0"/>
                        </a:spcAft>
                      </a:pPr>
                      <a:r>
                        <a:rPr lang="en-US" sz="1400">
                          <a:effectLst/>
                        </a:rPr>
                        <a:t>4</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STREATHAM 4</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latin typeface="+mj-lt"/>
                        </a:rPr>
                        <a:t>LIMPOPO</a:t>
                      </a:r>
                      <a:endParaRPr lang="en-US" sz="12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7</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8</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21</a:t>
                      </a:r>
                    </a:p>
                  </a:txBody>
                  <a:tcPr marL="68580" marR="68580" marT="0" marB="0"/>
                </a:tc>
                <a:tc>
                  <a:txBody>
                    <a:bodyPr/>
                    <a:lstStyle/>
                    <a:p>
                      <a:pPr marL="0" marR="0">
                        <a:lnSpc>
                          <a:spcPct val="107000"/>
                        </a:lnSpc>
                        <a:spcBef>
                          <a:spcPts val="0"/>
                        </a:spcBef>
                        <a:spcAft>
                          <a:spcPts val="0"/>
                        </a:spcAft>
                      </a:pPr>
                      <a:r>
                        <a:rPr lang="en-US" sz="1200" dirty="0">
                          <a:effectLst/>
                          <a:latin typeface="+mj-lt"/>
                        </a:rPr>
                        <a:t>35</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972703880"/>
                  </a:ext>
                </a:extLst>
              </a:tr>
              <a:tr h="209569">
                <a:tc>
                  <a:txBody>
                    <a:bodyPr/>
                    <a:lstStyle/>
                    <a:p>
                      <a:pPr marL="0" marR="0">
                        <a:lnSpc>
                          <a:spcPct val="107000"/>
                        </a:lnSpc>
                        <a:spcBef>
                          <a:spcPts val="0"/>
                        </a:spcBef>
                        <a:spcAft>
                          <a:spcPts val="0"/>
                        </a:spcAft>
                      </a:pPr>
                      <a:r>
                        <a:rPr lang="en-US" sz="1400">
                          <a:effectLst/>
                        </a:rPr>
                        <a:t>5</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UITKYK </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latin typeface="+mj-lt"/>
                        </a:rPr>
                        <a:t>LIMPOPO</a:t>
                      </a:r>
                      <a:endParaRPr lang="en-US" sz="12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9</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21</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24</a:t>
                      </a:r>
                    </a:p>
                  </a:txBody>
                  <a:tcPr marL="68580" marR="68580" marT="0" marB="0"/>
                </a:tc>
                <a:tc>
                  <a:txBody>
                    <a:bodyPr/>
                    <a:lstStyle/>
                    <a:p>
                      <a:pPr marL="0" marR="0">
                        <a:lnSpc>
                          <a:spcPct val="107000"/>
                        </a:lnSpc>
                        <a:spcBef>
                          <a:spcPts val="0"/>
                        </a:spcBef>
                        <a:spcAft>
                          <a:spcPts val="0"/>
                        </a:spcAft>
                      </a:pPr>
                      <a:r>
                        <a:rPr lang="en-US" sz="1200" dirty="0">
                          <a:effectLst/>
                          <a:latin typeface="+mj-lt"/>
                        </a:rPr>
                        <a:t>40</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025046747"/>
                  </a:ext>
                </a:extLst>
              </a:tr>
              <a:tr h="225750">
                <a:tc>
                  <a:txBody>
                    <a:bodyPr/>
                    <a:lstStyle/>
                    <a:p>
                      <a:pPr marL="0" marR="0">
                        <a:lnSpc>
                          <a:spcPct val="107000"/>
                        </a:lnSpc>
                        <a:spcBef>
                          <a:spcPts val="0"/>
                        </a:spcBef>
                        <a:spcAft>
                          <a:spcPts val="0"/>
                        </a:spcAft>
                      </a:pPr>
                      <a:r>
                        <a:rPr lang="en-US" sz="1400">
                          <a:effectLst/>
                        </a:rPr>
                        <a:t>6</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SEALING OF MINE OPENING MSINGA</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KZN</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3</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3</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4</a:t>
                      </a:r>
                    </a:p>
                  </a:txBody>
                  <a:tcPr marL="68580" marR="68580" marT="0" marB="0"/>
                </a:tc>
                <a:tc>
                  <a:txBody>
                    <a:bodyPr/>
                    <a:lstStyle/>
                    <a:p>
                      <a:pPr marL="0" marR="0">
                        <a:lnSpc>
                          <a:spcPct val="107000"/>
                        </a:lnSpc>
                        <a:spcBef>
                          <a:spcPts val="0"/>
                        </a:spcBef>
                        <a:spcAft>
                          <a:spcPts val="0"/>
                        </a:spcAft>
                      </a:pPr>
                      <a:r>
                        <a:rPr lang="en-US" sz="1200" dirty="0">
                          <a:effectLst/>
                          <a:latin typeface="+mj-lt"/>
                        </a:rPr>
                        <a:t>6</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862796617"/>
                  </a:ext>
                </a:extLst>
              </a:tr>
              <a:tr h="430229">
                <a:tc>
                  <a:txBody>
                    <a:bodyPr/>
                    <a:lstStyle/>
                    <a:p>
                      <a:pPr marL="0" marR="0">
                        <a:lnSpc>
                          <a:spcPct val="107000"/>
                        </a:lnSpc>
                        <a:spcBef>
                          <a:spcPts val="0"/>
                        </a:spcBef>
                        <a:spcAft>
                          <a:spcPts val="0"/>
                        </a:spcAft>
                      </a:pPr>
                      <a:r>
                        <a:rPr lang="en-US" sz="1400">
                          <a:effectLst/>
                        </a:rPr>
                        <a:t>7</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CLOSURE AND SEALING OF MINE OPENINGS</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rPr>
                        <a:t>KZN</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5</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5</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6</a:t>
                      </a:r>
                    </a:p>
                  </a:txBody>
                  <a:tcPr marL="68580" marR="68580" marT="0" marB="0"/>
                </a:tc>
                <a:tc>
                  <a:txBody>
                    <a:bodyPr/>
                    <a:lstStyle/>
                    <a:p>
                      <a:pPr marL="0" marR="0">
                        <a:lnSpc>
                          <a:spcPct val="107000"/>
                        </a:lnSpc>
                        <a:spcBef>
                          <a:spcPts val="0"/>
                        </a:spcBef>
                        <a:spcAft>
                          <a:spcPts val="0"/>
                        </a:spcAft>
                      </a:pPr>
                      <a:r>
                        <a:rPr lang="en-US" sz="1200" dirty="0">
                          <a:effectLst/>
                          <a:latin typeface="+mj-lt"/>
                        </a:rPr>
                        <a:t>10</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075728415"/>
                  </a:ext>
                </a:extLst>
              </a:tr>
              <a:tr h="209569">
                <a:tc>
                  <a:txBody>
                    <a:bodyPr/>
                    <a:lstStyle/>
                    <a:p>
                      <a:pPr marL="0" marR="0">
                        <a:lnSpc>
                          <a:spcPct val="107000"/>
                        </a:lnSpc>
                        <a:spcBef>
                          <a:spcPts val="0"/>
                        </a:spcBef>
                        <a:spcAft>
                          <a:spcPts val="0"/>
                        </a:spcAft>
                      </a:pPr>
                      <a:r>
                        <a:rPr lang="en-US" sz="1400">
                          <a:effectLst/>
                        </a:rPr>
                        <a:t>8</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latin typeface="+mj-lt"/>
                        </a:rPr>
                        <a:t>LAGERDRAAI</a:t>
                      </a:r>
                      <a:endParaRPr lang="en-US" sz="12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latin typeface="+mj-lt"/>
                        </a:rPr>
                        <a:t>LIMPOPO</a:t>
                      </a:r>
                      <a:endParaRPr lang="en-US" sz="1200">
                        <a:effectLst/>
                        <a:latin typeface="+mj-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9</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1</a:t>
                      </a:r>
                    </a:p>
                  </a:txBody>
                  <a:tcPr marL="68580" marR="68580" marT="0" marB="0"/>
                </a:tc>
                <a:tc>
                  <a:txBody>
                    <a:bodyPr/>
                    <a:lstStyle/>
                    <a:p>
                      <a:pPr marL="0" marR="0">
                        <a:lnSpc>
                          <a:spcPct val="107000"/>
                        </a:lnSpc>
                        <a:spcBef>
                          <a:spcPts val="0"/>
                        </a:spcBef>
                        <a:spcAft>
                          <a:spcPts val="0"/>
                        </a:spcAft>
                      </a:pPr>
                      <a:r>
                        <a:rPr lang="en-US" sz="1200" dirty="0">
                          <a:effectLst/>
                          <a:latin typeface="+mj-lt"/>
                          <a:ea typeface="Calibri" panose="020F0502020204030204" pitchFamily="34" charset="0"/>
                          <a:cs typeface="Times New Roman" panose="02020603050405020304" pitchFamily="18" charset="0"/>
                        </a:rPr>
                        <a:t>12</a:t>
                      </a:r>
                    </a:p>
                  </a:txBody>
                  <a:tcPr marL="68580" marR="68580" marT="0" marB="0"/>
                </a:tc>
                <a:tc>
                  <a:txBody>
                    <a:bodyPr/>
                    <a:lstStyle/>
                    <a:p>
                      <a:pPr marL="0" marR="0">
                        <a:lnSpc>
                          <a:spcPct val="107000"/>
                        </a:lnSpc>
                        <a:spcBef>
                          <a:spcPts val="0"/>
                        </a:spcBef>
                        <a:spcAft>
                          <a:spcPts val="0"/>
                        </a:spcAft>
                      </a:pPr>
                      <a:r>
                        <a:rPr lang="en-US" sz="1200" dirty="0">
                          <a:effectLst/>
                          <a:latin typeface="+mj-lt"/>
                        </a:rPr>
                        <a:t>20</a:t>
                      </a:r>
                      <a:endParaRPr lang="en-US" sz="1200" dirty="0">
                        <a:effectLst/>
                        <a:latin typeface="+mj-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499750409"/>
                  </a:ext>
                </a:extLst>
              </a:tr>
              <a:tr h="209569">
                <a:tc>
                  <a:txBody>
                    <a:bodyPr/>
                    <a:lstStyle/>
                    <a:p>
                      <a:pPr marL="0" marR="0">
                        <a:lnSpc>
                          <a:spcPct val="107000"/>
                        </a:lnSpc>
                        <a:spcBef>
                          <a:spcPts val="0"/>
                        </a:spcBef>
                        <a:spcAft>
                          <a:spcPts val="0"/>
                        </a:spcAft>
                      </a:pPr>
                      <a:r>
                        <a:rPr lang="en-US" sz="1400">
                          <a:effectLst/>
                        </a:rPr>
                        <a:t>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a:effectLst/>
                        </a:rPr>
                        <a:t>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200" dirty="0">
                          <a:effectLst/>
                        </a:rPr>
                        <a:t>TOTAL 187</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89539091"/>
                  </a:ext>
                </a:extLst>
              </a:tr>
            </a:tbl>
          </a:graphicData>
        </a:graphic>
      </p:graphicFrame>
      <p:sp>
        <p:nvSpPr>
          <p:cNvPr id="7" name="TextBox 6">
            <a:extLst>
              <a:ext uri="{FF2B5EF4-FFF2-40B4-BE49-F238E27FC236}">
                <a16:creationId xmlns:a16="http://schemas.microsoft.com/office/drawing/2014/main" xmlns="" id="{60FF280E-EC94-4015-BDC7-649AF634C59C}"/>
              </a:ext>
            </a:extLst>
          </p:cNvPr>
          <p:cNvSpPr txBox="1"/>
          <p:nvPr/>
        </p:nvSpPr>
        <p:spPr>
          <a:xfrm>
            <a:off x="-97491" y="1165630"/>
            <a:ext cx="5090209" cy="337913"/>
          </a:xfrm>
          <a:prstGeom prst="rect">
            <a:avLst/>
          </a:prstGeom>
          <a:noFill/>
        </p:spPr>
        <p:txBody>
          <a:bodyPr wrap="square">
            <a:spAutoFit/>
          </a:bodyPr>
          <a:lstStyle/>
          <a:p>
            <a:pPr algn="ctr"/>
            <a:r>
              <a:rPr lang="en-US" b="1" dirty="0"/>
              <a:t>Financial Year 2019/20 </a:t>
            </a:r>
          </a:p>
        </p:txBody>
      </p:sp>
      <p:sp>
        <p:nvSpPr>
          <p:cNvPr id="8" name="TextBox 7">
            <a:extLst>
              <a:ext uri="{FF2B5EF4-FFF2-40B4-BE49-F238E27FC236}">
                <a16:creationId xmlns:a16="http://schemas.microsoft.com/office/drawing/2014/main" xmlns="" id="{A239B3E5-7A29-4FF7-8E90-750B6424EF12}"/>
              </a:ext>
            </a:extLst>
          </p:cNvPr>
          <p:cNvSpPr txBox="1"/>
          <p:nvPr/>
        </p:nvSpPr>
        <p:spPr>
          <a:xfrm>
            <a:off x="519343" y="4535761"/>
            <a:ext cx="5090209" cy="337913"/>
          </a:xfrm>
          <a:prstGeom prst="rect">
            <a:avLst/>
          </a:prstGeom>
          <a:noFill/>
        </p:spPr>
        <p:txBody>
          <a:bodyPr wrap="square">
            <a:spAutoFit/>
          </a:bodyPr>
          <a:lstStyle/>
          <a:p>
            <a:pPr algn="ctr"/>
            <a:r>
              <a:rPr lang="en-US" b="1" dirty="0"/>
              <a:t>April 2020 to September 2020 </a:t>
            </a:r>
          </a:p>
        </p:txBody>
      </p:sp>
      <p:graphicFrame>
        <p:nvGraphicFramePr>
          <p:cNvPr id="9" name="Table 8">
            <a:extLst>
              <a:ext uri="{FF2B5EF4-FFF2-40B4-BE49-F238E27FC236}">
                <a16:creationId xmlns:a16="http://schemas.microsoft.com/office/drawing/2014/main" xmlns="" id="{321DB6CB-5F59-42A3-A61F-3DFAA50691A8}"/>
              </a:ext>
            </a:extLst>
          </p:cNvPr>
          <p:cNvGraphicFramePr>
            <a:graphicFrameLocks noGrp="1"/>
          </p:cNvGraphicFramePr>
          <p:nvPr>
            <p:extLst>
              <p:ext uri="{D42A27DB-BD31-4B8C-83A1-F6EECF244321}">
                <p14:modId xmlns:p14="http://schemas.microsoft.com/office/powerpoint/2010/main" xmlns="" val="711065571"/>
              </p:ext>
            </p:extLst>
          </p:nvPr>
        </p:nvGraphicFramePr>
        <p:xfrm>
          <a:off x="266696" y="4894729"/>
          <a:ext cx="8224160" cy="1092683"/>
        </p:xfrm>
        <a:graphic>
          <a:graphicData uri="http://schemas.openxmlformats.org/drawingml/2006/table">
            <a:tbl>
              <a:tblPr firstRow="1" firstCol="1" bandRow="1">
                <a:tableStyleId>{5C22544A-7EE6-4342-B048-85BDC9FD1C3A}</a:tableStyleId>
              </a:tblPr>
              <a:tblGrid>
                <a:gridCol w="1490903">
                  <a:extLst>
                    <a:ext uri="{9D8B030D-6E8A-4147-A177-3AD203B41FA5}">
                      <a16:colId xmlns:a16="http://schemas.microsoft.com/office/drawing/2014/main" xmlns="" val="1209513579"/>
                    </a:ext>
                  </a:extLst>
                </a:gridCol>
                <a:gridCol w="1492662">
                  <a:extLst>
                    <a:ext uri="{9D8B030D-6E8A-4147-A177-3AD203B41FA5}">
                      <a16:colId xmlns:a16="http://schemas.microsoft.com/office/drawing/2014/main" xmlns="" val="2432602610"/>
                    </a:ext>
                  </a:extLst>
                </a:gridCol>
                <a:gridCol w="1346651">
                  <a:extLst>
                    <a:ext uri="{9D8B030D-6E8A-4147-A177-3AD203B41FA5}">
                      <a16:colId xmlns:a16="http://schemas.microsoft.com/office/drawing/2014/main" xmlns="" val="2377821549"/>
                    </a:ext>
                  </a:extLst>
                </a:gridCol>
                <a:gridCol w="1390631">
                  <a:extLst>
                    <a:ext uri="{9D8B030D-6E8A-4147-A177-3AD203B41FA5}">
                      <a16:colId xmlns:a16="http://schemas.microsoft.com/office/drawing/2014/main" xmlns="" val="198419443"/>
                    </a:ext>
                  </a:extLst>
                </a:gridCol>
                <a:gridCol w="1387993">
                  <a:extLst>
                    <a:ext uri="{9D8B030D-6E8A-4147-A177-3AD203B41FA5}">
                      <a16:colId xmlns:a16="http://schemas.microsoft.com/office/drawing/2014/main" xmlns="" val="4149734074"/>
                    </a:ext>
                  </a:extLst>
                </a:gridCol>
                <a:gridCol w="1115320">
                  <a:extLst>
                    <a:ext uri="{9D8B030D-6E8A-4147-A177-3AD203B41FA5}">
                      <a16:colId xmlns:a16="http://schemas.microsoft.com/office/drawing/2014/main" xmlns="" val="2324183492"/>
                    </a:ext>
                  </a:extLst>
                </a:gridCol>
              </a:tblGrid>
              <a:tr h="799140">
                <a:tc>
                  <a:txBody>
                    <a:bodyPr/>
                    <a:lstStyle/>
                    <a:p>
                      <a:pPr marL="0" marR="0">
                        <a:lnSpc>
                          <a:spcPct val="106000"/>
                        </a:lnSpc>
                        <a:spcBef>
                          <a:spcPts val="0"/>
                        </a:spcBef>
                        <a:spcAft>
                          <a:spcPts val="0"/>
                        </a:spcAft>
                      </a:pPr>
                      <a:r>
                        <a:rPr lang="en-US" sz="1200" dirty="0">
                          <a:effectLst/>
                        </a:rPr>
                        <a:t>Work Opportunities Targe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Work Opportunities Achieve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Achieved in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Number of Women Employe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Number of Male Employe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Number of Youths Employed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437693730"/>
                  </a:ext>
                </a:extLst>
              </a:tr>
              <a:tr h="293543">
                <a:tc>
                  <a:txBody>
                    <a:bodyPr/>
                    <a:lstStyle/>
                    <a:p>
                      <a:pPr marL="0" marR="0">
                        <a:lnSpc>
                          <a:spcPct val="106000"/>
                        </a:lnSpc>
                        <a:spcBef>
                          <a:spcPts val="0"/>
                        </a:spcBef>
                        <a:spcAft>
                          <a:spcPts val="0"/>
                        </a:spcAft>
                      </a:pPr>
                      <a:r>
                        <a:rPr lang="en-US" sz="1200">
                          <a:effectLst/>
                        </a:rPr>
                        <a:t>144</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8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6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50</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38</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6000"/>
                        </a:lnSpc>
                        <a:spcBef>
                          <a:spcPts val="0"/>
                        </a:spcBef>
                        <a:spcAft>
                          <a:spcPts val="0"/>
                        </a:spcAft>
                      </a:pPr>
                      <a:r>
                        <a:rPr lang="en-US" sz="1200" dirty="0">
                          <a:effectLst/>
                        </a:rPr>
                        <a:t>51</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589416004"/>
                  </a:ext>
                </a:extLst>
              </a:tr>
            </a:tbl>
          </a:graphicData>
        </a:graphic>
      </p:graphicFrame>
    </p:spTree>
    <p:extLst>
      <p:ext uri="{BB962C8B-B14F-4D97-AF65-F5344CB8AC3E}">
        <p14:creationId xmlns:p14="http://schemas.microsoft.com/office/powerpoint/2010/main" xmlns="" val="26504402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250588" y="646891"/>
            <a:ext cx="8590327" cy="316155"/>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z="2000" spc="-3" dirty="0">
                <a:latin typeface="Arial Black" panose="020B0A04020102020204" pitchFamily="34" charset="0"/>
              </a:rPr>
              <a:t>CONCLUSION</a:t>
            </a:r>
            <a:endParaRPr sz="2000" spc="-3" dirty="0">
              <a:latin typeface="Arial Black" panose="020B0A04020102020204" pitchFamily="34" charset="0"/>
            </a:endParaRPr>
          </a:p>
        </p:txBody>
      </p:sp>
      <p:sp>
        <p:nvSpPr>
          <p:cNvPr id="51203" name="object 3"/>
          <p:cNvSpPr>
            <a:spLocks noGrp="1"/>
          </p:cNvSpPr>
          <p:nvPr>
            <p:ph type="body" idx="1"/>
          </p:nvPr>
        </p:nvSpPr>
        <p:spPr>
          <a:xfrm>
            <a:off x="368490" y="1080599"/>
            <a:ext cx="8093122" cy="514670"/>
          </a:xfrm>
        </p:spPr>
        <p:txBody>
          <a:bodyPr vert="horz" wrap="square" lIns="0" tIns="8297" rIns="0" bIns="0" numCol="1" anchor="t" anchorCtr="0" compatLnSpc="1">
            <a:prstTxWarp prst="textNoShape">
              <a:avLst/>
            </a:prstTxWarp>
            <a:spAutoFit/>
          </a:bodyPr>
          <a:lstStyle/>
          <a:p>
            <a:pPr algn="just">
              <a:lnSpc>
                <a:spcPct val="115000"/>
              </a:lnSpc>
              <a:spcAft>
                <a:spcPts val="0"/>
              </a:spcAft>
            </a:pPr>
            <a:r>
              <a:rPr lang="en-GB" sz="1400" b="1" dirty="0">
                <a:latin typeface="Century Gothic" panose="020B0502020202020204" pitchFamily="34" charset="0"/>
                <a:ea typeface="Calibri" panose="020F0502020204030204" pitchFamily="34" charset="0"/>
                <a:cs typeface="Times New Roman" panose="02020603050405020304" pitchFamily="18" charset="0"/>
              </a:rPr>
              <a:t> </a:t>
            </a:r>
            <a:endParaRPr lang="en-ZA" sz="1800" dirty="0">
              <a:latin typeface="Arial" panose="020B0604020202020204" pitchFamily="34" charset="0"/>
              <a:ea typeface="Calibri" panose="020F0502020204030204" pitchFamily="34" charset="0"/>
              <a:cs typeface="Times New Roman" panose="02020603050405020304" pitchFamily="18" charset="0"/>
            </a:endParaRPr>
          </a:p>
          <a:p>
            <a:pPr>
              <a:spcAft>
                <a:spcPts val="0"/>
              </a:spcAft>
            </a:pPr>
            <a:r>
              <a:rPr lang="en-GB" sz="1400" dirty="0">
                <a:latin typeface="Century Gothic" panose="020B0502020202020204" pitchFamily="34" charset="0"/>
                <a:ea typeface="Calibri" panose="020F0502020204030204" pitchFamily="34" charset="0"/>
                <a:cs typeface="Tahoma" panose="020B0604030504040204" pitchFamily="34" charset="0"/>
              </a:rPr>
              <a:t> </a:t>
            </a:r>
            <a:endParaRPr lang="en-ZA"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6757DF30-2317-4A1D-86CC-8BFEF4250C95}"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7</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3" name="Rectangle 2">
            <a:extLst>
              <a:ext uri="{FF2B5EF4-FFF2-40B4-BE49-F238E27FC236}">
                <a16:creationId xmlns:a16="http://schemas.microsoft.com/office/drawing/2014/main" xmlns="" id="{EAD47CE6-C9F1-4AFC-B6D8-400654104D94}"/>
              </a:ext>
            </a:extLst>
          </p:cNvPr>
          <p:cNvSpPr/>
          <p:nvPr/>
        </p:nvSpPr>
        <p:spPr>
          <a:xfrm>
            <a:off x="250588" y="2126467"/>
            <a:ext cx="8211024" cy="1089529"/>
          </a:xfrm>
          <a:prstGeom prst="rect">
            <a:avLst/>
          </a:prstGeom>
        </p:spPr>
        <p:txBody>
          <a:bodyPr wrap="square">
            <a:spAutoFit/>
          </a:bodyPr>
          <a:lstStyle/>
          <a:p>
            <a:pPr marR="0" lvl="0" algn="just" defTabSz="653430" rtl="0" eaLnBrk="1" fontAlgn="auto" latinLnBrk="0" hangingPunct="1">
              <a:lnSpc>
                <a:spcPct val="90000"/>
              </a:lnSpc>
              <a:spcBef>
                <a:spcPts val="715"/>
              </a:spcBef>
              <a:spcAft>
                <a:spcPts val="0"/>
              </a:spcAft>
              <a:buClrTx/>
              <a:buSzTx/>
              <a:tabLst/>
              <a:defRPr/>
            </a:pPr>
            <a:r>
              <a:rPr kumimoji="0" lang="en-US" sz="2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Despite challenges experienced due to </a:t>
            </a:r>
            <a:r>
              <a:rPr kumimoji="0" lang="en-US" sz="24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vid</a:t>
            </a:r>
            <a:r>
              <a:rPr kumimoji="0" lang="en-US" sz="24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19 and illegal mining during 2020/21, the department is in course to meet the set targets for the financial year. </a:t>
            </a:r>
          </a:p>
        </p:txBody>
      </p:sp>
    </p:spTree>
    <p:extLst>
      <p:ext uri="{BB962C8B-B14F-4D97-AF65-F5344CB8AC3E}">
        <p14:creationId xmlns:p14="http://schemas.microsoft.com/office/powerpoint/2010/main" xmlns="" val="36888020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E94A1117-0BF9-4CA8-8CF1-6483981F5E26}" type="slidenum">
              <a:rPr lang="en-US" altLang="en-US" smtClean="0"/>
              <a:pPr>
                <a:defRPr/>
              </a:pPr>
              <a:t>18</a:t>
            </a:fld>
            <a:endParaRPr lang="en-US" altLang="en-US" dirty="0"/>
          </a:p>
        </p:txBody>
      </p:sp>
    </p:spTree>
    <p:extLst>
      <p:ext uri="{BB962C8B-B14F-4D97-AF65-F5344CB8AC3E}">
        <p14:creationId xmlns:p14="http://schemas.microsoft.com/office/powerpoint/2010/main" xmlns="" val="3977667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950" y="1884016"/>
            <a:ext cx="8325171" cy="3231441"/>
          </a:xfrm>
        </p:spPr>
        <p:txBody>
          <a:bodyPr rtlCol="0">
            <a:normAutofit fontScale="25000" lnSpcReduction="20000"/>
          </a:bodyPr>
          <a:lstStyle/>
          <a:p>
            <a:pPr marL="0" indent="0" algn="ctr" eaLnBrk="1" fontAlgn="auto" hangingPunct="1">
              <a:spcBef>
                <a:spcPts val="929"/>
              </a:spcBef>
              <a:spcAft>
                <a:spcPts val="0"/>
              </a:spcAft>
              <a:buNone/>
              <a:defRPr/>
            </a:pPr>
            <a:endParaRPr lang="en-ZA" sz="1858" b="1" dirty="0">
              <a:solidFill>
                <a:prstClr val="black"/>
              </a:solidFill>
              <a:latin typeface="Arial" panose="020B0604020202020204" pitchFamily="34" charset="0"/>
              <a:cs typeface="Arial" panose="020B0604020202020204" pitchFamily="34" charset="0"/>
            </a:endParaRPr>
          </a:p>
          <a:p>
            <a:pPr marL="0" indent="0" algn="ctr" eaLnBrk="1" fontAlgn="auto" hangingPunct="1">
              <a:lnSpc>
                <a:spcPct val="100000"/>
              </a:lnSpc>
              <a:spcBef>
                <a:spcPts val="929"/>
              </a:spcBef>
              <a:spcAft>
                <a:spcPts val="0"/>
              </a:spcAft>
              <a:buNone/>
              <a:defRPr/>
            </a:pPr>
            <a:r>
              <a:rPr lang="en-US" sz="8000" b="1" dirty="0">
                <a:latin typeface="Arial Black" panose="020B0A04020102020204" pitchFamily="34" charset="0"/>
                <a:ea typeface="Calibri" panose="020F0502020204030204" pitchFamily="34" charset="0"/>
                <a:cs typeface="Arial" panose="020B0604020202020204" pitchFamily="34" charset="0"/>
              </a:rPr>
              <a:t>DERELICT AND OWNERLESS MINES </a:t>
            </a:r>
          </a:p>
          <a:p>
            <a:pPr marL="0" indent="0" algn="ctr" eaLnBrk="1" fontAlgn="auto" hangingPunct="1">
              <a:lnSpc>
                <a:spcPct val="100000"/>
              </a:lnSpc>
              <a:spcBef>
                <a:spcPts val="929"/>
              </a:spcBef>
              <a:spcAft>
                <a:spcPts val="0"/>
              </a:spcAft>
              <a:buNone/>
              <a:defRPr/>
            </a:pPr>
            <a:r>
              <a:rPr lang="en-US" sz="8000" b="1" dirty="0">
                <a:latin typeface="Arial Black" panose="020B0A04020102020204" pitchFamily="34" charset="0"/>
                <a:ea typeface="Calibri" panose="020F0502020204030204" pitchFamily="34" charset="0"/>
                <a:cs typeface="Arial" panose="020B0604020202020204" pitchFamily="34" charset="0"/>
              </a:rPr>
              <a:t>(INCLUDING REHABILITATION OF ASBESTOS MINES)</a:t>
            </a:r>
            <a:r>
              <a:rPr lang="en-ZA" sz="8000" b="1" dirty="0">
                <a:latin typeface="Arial Black" panose="020B0A04020102020204" pitchFamily="34" charset="0"/>
                <a:cs typeface="Arial" panose="020B0604020202020204" pitchFamily="34" charset="0"/>
              </a:rPr>
              <a:t/>
            </a:r>
            <a:br>
              <a:rPr lang="en-ZA" sz="8000" b="1" dirty="0">
                <a:latin typeface="Arial Black" panose="020B0A04020102020204" pitchFamily="34" charset="0"/>
                <a:cs typeface="Arial" panose="020B0604020202020204" pitchFamily="34" charset="0"/>
              </a:rPr>
            </a:br>
            <a:endParaRPr lang="en-ZA" sz="8000" b="1" dirty="0">
              <a:latin typeface="Arial Black" panose="020B0A04020102020204" pitchFamily="34" charset="0"/>
              <a:cs typeface="Arial" panose="020B0604020202020204" pitchFamily="34" charset="0"/>
            </a:endParaRPr>
          </a:p>
          <a:p>
            <a:pPr marL="0" indent="0" algn="ctr" eaLnBrk="1" fontAlgn="auto" hangingPunct="1">
              <a:lnSpc>
                <a:spcPct val="100000"/>
              </a:lnSpc>
              <a:spcBef>
                <a:spcPts val="929"/>
              </a:spcBef>
              <a:spcAft>
                <a:spcPts val="0"/>
              </a:spcAft>
              <a:buNone/>
              <a:defRPr/>
            </a:pPr>
            <a:endParaRPr lang="en-ZA" sz="8000" b="1" dirty="0">
              <a:latin typeface="Arial Black" panose="020B0A04020102020204" pitchFamily="34" charset="0"/>
              <a:cs typeface="Arial" panose="020B0604020202020204" pitchFamily="34" charset="0"/>
            </a:endParaRPr>
          </a:p>
          <a:p>
            <a:pPr marL="0" indent="0" algn="ctr" eaLnBrk="1" fontAlgn="auto" hangingPunct="1">
              <a:lnSpc>
                <a:spcPct val="100000"/>
              </a:lnSpc>
              <a:spcBef>
                <a:spcPts val="929"/>
              </a:spcBef>
              <a:spcAft>
                <a:spcPts val="0"/>
              </a:spcAft>
              <a:buNone/>
              <a:defRPr/>
            </a:pPr>
            <a:r>
              <a:rPr lang="en-ZA" sz="8000" b="1" dirty="0">
                <a:latin typeface="Arial Black" panose="020B0A04020102020204" pitchFamily="34" charset="0"/>
                <a:cs typeface="Arial" panose="020B0604020202020204" pitchFamily="34" charset="0"/>
              </a:rPr>
              <a:t>DATE: 17  NOVEMBER 2020</a:t>
            </a:r>
          </a:p>
          <a:p>
            <a:pPr marL="0" indent="0" algn="ctr" eaLnBrk="1" fontAlgn="auto" hangingPunct="1">
              <a:lnSpc>
                <a:spcPct val="100000"/>
              </a:lnSpc>
              <a:spcBef>
                <a:spcPts val="929"/>
              </a:spcBef>
              <a:spcAft>
                <a:spcPts val="0"/>
              </a:spcAft>
              <a:buNone/>
              <a:defRPr/>
            </a:pPr>
            <a:endParaRPr lang="en-ZA" sz="8000" b="1" dirty="0">
              <a:solidFill>
                <a:prstClr val="black"/>
              </a:solidFill>
              <a:latin typeface="Arial Black" panose="020B0A04020102020204" pitchFamily="34" charset="0"/>
            </a:endParaRPr>
          </a:p>
          <a:p>
            <a:pPr marL="0" indent="0" algn="ctr" eaLnBrk="1" fontAlgn="auto" hangingPunct="1">
              <a:lnSpc>
                <a:spcPct val="100000"/>
              </a:lnSpc>
              <a:spcBef>
                <a:spcPts val="929"/>
              </a:spcBef>
              <a:spcAft>
                <a:spcPts val="0"/>
              </a:spcAft>
              <a:buNone/>
              <a:defRPr/>
            </a:pPr>
            <a:endParaRPr lang="en-ZA" sz="8000" b="1" dirty="0">
              <a:solidFill>
                <a:prstClr val="black"/>
              </a:solidFill>
              <a:latin typeface="Arial Black" panose="020B0A04020102020204" pitchFamily="34" charset="0"/>
            </a:endParaRPr>
          </a:p>
          <a:p>
            <a:pPr marL="0" indent="0" algn="ctr" eaLnBrk="1" fontAlgn="auto" hangingPunct="1">
              <a:lnSpc>
                <a:spcPct val="100000"/>
              </a:lnSpc>
              <a:spcBef>
                <a:spcPts val="929"/>
              </a:spcBef>
              <a:spcAft>
                <a:spcPts val="0"/>
              </a:spcAft>
              <a:buNone/>
              <a:defRPr/>
            </a:pPr>
            <a:endParaRPr lang="en-ZA" sz="8000"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8000"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ZA" sz="3252"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endParaRPr lang="en-US" sz="3345" b="1" dirty="0">
              <a:solidFill>
                <a:prstClr val="black"/>
              </a:solidFill>
              <a:latin typeface="Arial Narrow" panose="020B0606020202030204" pitchFamily="34" charset="0"/>
            </a:endParaRPr>
          </a:p>
          <a:p>
            <a:pPr marL="0" indent="0" algn="ctr" eaLnBrk="1" fontAlgn="auto" hangingPunct="1">
              <a:lnSpc>
                <a:spcPct val="100000"/>
              </a:lnSpc>
              <a:spcBef>
                <a:spcPts val="929"/>
              </a:spcBef>
              <a:spcAft>
                <a:spcPts val="0"/>
              </a:spcAft>
              <a:buNone/>
              <a:defRPr/>
            </a:pPr>
            <a:r>
              <a:rPr lang="en-US" sz="3345" b="1" dirty="0">
                <a:solidFill>
                  <a:prstClr val="black"/>
                </a:solidFill>
                <a:latin typeface="Arial Narrow" panose="020B0606020202030204" pitchFamily="34" charset="0"/>
              </a:rPr>
              <a:t>    </a:t>
            </a:r>
          </a:p>
          <a:p>
            <a:pPr marL="0" indent="0" algn="ctr" eaLnBrk="1" fontAlgn="auto" hangingPunct="1">
              <a:lnSpc>
                <a:spcPct val="100000"/>
              </a:lnSpc>
              <a:spcBef>
                <a:spcPts val="929"/>
              </a:spcBef>
              <a:spcAft>
                <a:spcPts val="0"/>
              </a:spcAft>
              <a:buNone/>
              <a:defRPr/>
            </a:pPr>
            <a:r>
              <a:rPr lang="en-ZA" sz="1858" b="1" dirty="0">
                <a:solidFill>
                  <a:prstClr val="black"/>
                </a:solidFill>
                <a:latin typeface="Arial" panose="020B0604020202020204" pitchFamily="34" charset="0"/>
                <a:cs typeface="Arial" panose="020B0604020202020204" pitchFamily="34" charset="0"/>
              </a:rPr>
              <a:t>		</a:t>
            </a:r>
          </a:p>
          <a:p>
            <a:pPr marL="0" indent="0" algn="r" eaLnBrk="1" fontAlgn="auto" hangingPunct="1">
              <a:lnSpc>
                <a:spcPct val="100000"/>
              </a:lnSpc>
              <a:spcBef>
                <a:spcPct val="20000"/>
              </a:spcBef>
              <a:spcAft>
                <a:spcPts val="0"/>
              </a:spcAft>
              <a:buNone/>
              <a:defRPr/>
            </a:pPr>
            <a:r>
              <a:rPr lang="en-ZA" sz="1858" b="1" dirty="0">
                <a:solidFill>
                  <a:prstClr val="black"/>
                </a:solidFill>
                <a:latin typeface="Arial" panose="020B0604020202020204" pitchFamily="34" charset="0"/>
                <a:cs typeface="Arial" panose="020B0604020202020204" pitchFamily="34" charset="0"/>
              </a:rPr>
              <a:t>				</a:t>
            </a:r>
          </a:p>
          <a:p>
            <a:pPr marL="0" indent="0" algn="r" eaLnBrk="1" fontAlgn="auto" hangingPunct="1">
              <a:lnSpc>
                <a:spcPct val="100000"/>
              </a:lnSpc>
              <a:spcBef>
                <a:spcPct val="20000"/>
              </a:spcBef>
              <a:spcAft>
                <a:spcPts val="0"/>
              </a:spcAft>
              <a:buNone/>
              <a:defRPr/>
            </a:pPr>
            <a:endParaRPr lang="en-ZA" sz="1858" b="1" i="1" dirty="0">
              <a:solidFill>
                <a:prstClr val="black"/>
              </a:solidFill>
              <a:latin typeface="Arial" panose="020B0604020202020204" pitchFamily="34" charset="0"/>
              <a:cs typeface="Arial" panose="020B0604020202020204" pitchFamily="34" charset="0"/>
            </a:endParaRPr>
          </a:p>
          <a:p>
            <a:pPr marL="0" indent="0" algn="r" eaLnBrk="1" fontAlgn="auto" hangingPunct="1">
              <a:lnSpc>
                <a:spcPct val="100000"/>
              </a:lnSpc>
              <a:spcBef>
                <a:spcPct val="20000"/>
              </a:spcBef>
              <a:spcAft>
                <a:spcPts val="0"/>
              </a:spcAft>
              <a:buNone/>
              <a:defRPr/>
            </a:pPr>
            <a:r>
              <a:rPr lang="en-US" sz="1672" b="1" i="1" dirty="0">
                <a:solidFill>
                  <a:prstClr val="black"/>
                </a:solidFill>
              </a:rPr>
              <a:t>			</a:t>
            </a:r>
          </a:p>
          <a:p>
            <a:pPr marL="0" indent="0" algn="r" eaLnBrk="1" fontAlgn="auto" hangingPunct="1">
              <a:lnSpc>
                <a:spcPct val="100000"/>
              </a:lnSpc>
              <a:spcBef>
                <a:spcPct val="20000"/>
              </a:spcBef>
              <a:spcAft>
                <a:spcPts val="0"/>
              </a:spcAft>
              <a:buNone/>
              <a:defRPr/>
            </a:pPr>
            <a:r>
              <a:rPr lang="en-US" sz="1672" b="1" i="1" dirty="0">
                <a:solidFill>
                  <a:prstClr val="black"/>
                </a:solidFill>
              </a:rPr>
              <a:t>			</a:t>
            </a:r>
          </a:p>
          <a:p>
            <a:pPr marL="0" indent="0" algn="ctr"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ZA" sz="1858" b="1" dirty="0">
              <a:latin typeface="Arial" panose="020B0604020202020204" pitchFamily="34" charset="0"/>
              <a:cs typeface="Arial" panose="020B0604020202020204" pitchFamily="34" charset="0"/>
            </a:endParaRPr>
          </a:p>
          <a:p>
            <a:pPr marL="0" indent="0" eaLnBrk="1" fontAlgn="auto" hangingPunct="1">
              <a:spcBef>
                <a:spcPts val="929"/>
              </a:spcBef>
              <a:spcAft>
                <a:spcPts val="0"/>
              </a:spcAft>
              <a:buNone/>
              <a:defRPr/>
            </a:pPr>
            <a:endParaRPr lang="en-US" sz="1858" dirty="0">
              <a:latin typeface="Arial" panose="020B0604020202020204" pitchFamily="34" charset="0"/>
              <a:cs typeface="Arial" panose="020B0604020202020204" pitchFamily="34" charset="0"/>
            </a:endParaRPr>
          </a:p>
        </p:txBody>
      </p:sp>
      <p:pic>
        <p:nvPicPr>
          <p:cNvPr id="4" name="Picture 3"/>
          <p:cNvPicPr/>
          <p:nvPr/>
        </p:nvPicPr>
        <p:blipFill>
          <a:blip r:embed="rId2" cstate="print">
            <a:extLst>
              <a:ext uri="{28A0092B-C50C-407E-A947-70E740481C1C}">
                <a14:useLocalDpi xmlns:a14="http://schemas.microsoft.com/office/drawing/2010/main" xmlns="" val="0"/>
              </a:ext>
            </a:extLst>
          </a:blip>
          <a:stretch>
            <a:fillRect/>
          </a:stretch>
        </p:blipFill>
        <p:spPr>
          <a:xfrm>
            <a:off x="107950" y="5660742"/>
            <a:ext cx="1849639" cy="584951"/>
          </a:xfrm>
          <a:prstGeom prst="rect">
            <a:avLst/>
          </a:prstGeom>
        </p:spPr>
      </p:pic>
      <p:pic>
        <p:nvPicPr>
          <p:cNvPr id="5" name="Picture 4"/>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5660741"/>
            <a:ext cx="2197290" cy="711483"/>
          </a:xfrm>
          <a:prstGeom prst="rect">
            <a:avLst/>
          </a:prstGeom>
          <a:noFill/>
          <a:ln>
            <a:noFill/>
          </a:ln>
        </p:spPr>
      </p:pic>
      <p:sp>
        <p:nvSpPr>
          <p:cNvPr id="2" name="Slide Number Placeholder 1"/>
          <p:cNvSpPr>
            <a:spLocks noGrp="1"/>
          </p:cNvSpPr>
          <p:nvPr>
            <p:ph type="sldNum" sz="quarter" idx="12"/>
          </p:nvPr>
        </p:nvSpPr>
        <p:spPr/>
        <p:txBody>
          <a:bodyPr/>
          <a:lstStyle/>
          <a:p>
            <a:pPr>
              <a:defRPr/>
            </a:pPr>
            <a:fld id="{2BA4C93F-B990-4B5D-94E0-F0FDDB5A48FF}" type="slidenum">
              <a:rPr lang="en-ZA" smtClean="0"/>
              <a:pPr>
                <a:defRPr/>
              </a:pPr>
              <a:t>2</a:t>
            </a:fld>
            <a:endParaRPr lang="en-ZA" dirty="0"/>
          </a:p>
        </p:txBody>
      </p:sp>
    </p:spTree>
    <p:extLst>
      <p:ext uri="{BB962C8B-B14F-4D97-AF65-F5344CB8AC3E}">
        <p14:creationId xmlns:p14="http://schemas.microsoft.com/office/powerpoint/2010/main" xmlns="" val="1254127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796615" y="770600"/>
            <a:ext cx="2719397" cy="309999"/>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spc="-3" dirty="0"/>
              <a:t>PRESENTATION</a:t>
            </a:r>
            <a:r>
              <a:rPr spc="-56" dirty="0"/>
              <a:t> </a:t>
            </a:r>
            <a:r>
              <a:rPr dirty="0"/>
              <a:t>LAYOUT</a:t>
            </a:r>
          </a:p>
        </p:txBody>
      </p:sp>
      <p:sp>
        <p:nvSpPr>
          <p:cNvPr id="32771" name="object 3"/>
          <p:cNvSpPr txBox="1">
            <a:spLocks noChangeArrowheads="1"/>
          </p:cNvSpPr>
          <p:nvPr/>
        </p:nvSpPr>
        <p:spPr bwMode="auto">
          <a:xfrm>
            <a:off x="436035" y="1225914"/>
            <a:ext cx="7979585" cy="67597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12415" lvl="0" indent="-212415" defTabSz="849660">
              <a:buFont typeface="Wingdings" pitchFamily="2" charset="2"/>
              <a:buChar char="q"/>
            </a:pPr>
            <a:r>
              <a:rPr lang="en-ZA" sz="1800" dirty="0">
                <a:latin typeface="Arial Black" panose="020B0A04020102020204" pitchFamily="34" charset="0"/>
                <a:ea typeface="+mj-ea"/>
                <a:cs typeface="Arial" panose="020B0604020202020204" pitchFamily="34" charset="0"/>
              </a:rPr>
              <a:t>Introductory Remarks</a:t>
            </a:r>
          </a:p>
          <a:p>
            <a:pPr marL="212415" lvl="0" indent="-212415" defTabSz="849660">
              <a:buFont typeface="Wingdings" pitchFamily="2" charset="2"/>
              <a:buChar char="q"/>
            </a:pPr>
            <a:endParaRPr lang="en-ZA" altLang="en-US" sz="1800"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US" sz="1800" b="1" dirty="0">
                <a:latin typeface="Arial Black" panose="020B0A04020102020204" pitchFamily="34" charset="0"/>
                <a:ea typeface="+mj-ea"/>
                <a:cs typeface="Arial" panose="020B0604020202020204" pitchFamily="34" charset="0"/>
                <a:sym typeface="Calibri"/>
              </a:rPr>
              <a:t>South African </a:t>
            </a:r>
            <a:r>
              <a:rPr lang="en-ZA" sz="1800" b="1" dirty="0">
                <a:latin typeface="Arial Black" panose="020B0A04020102020204" pitchFamily="34" charset="0"/>
                <a:ea typeface="+mj-ea"/>
                <a:cs typeface="Arial" panose="020B0604020202020204" pitchFamily="34" charset="0"/>
              </a:rPr>
              <a:t>Mine Legislation History </a:t>
            </a:r>
            <a:endParaRPr lang="en-ZA" altLang="en-US" sz="1800"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endParaRPr lang="en-ZA" altLang="en-US" sz="1800"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ZA" sz="1800" b="1" kern="0" spc="-3" dirty="0">
                <a:latin typeface="Arial Black" panose="020B0A04020102020204" pitchFamily="34" charset="0"/>
                <a:ea typeface="+mj-ea"/>
                <a:cs typeface="Arial" panose="020B0604020202020204" pitchFamily="34" charset="0"/>
              </a:rPr>
              <a:t>Sealing Of Open Shafts/</a:t>
            </a:r>
            <a:r>
              <a:rPr lang="en-ZA" sz="1800" b="1" kern="0" spc="-3" dirty="0" err="1">
                <a:latin typeface="Arial Black" panose="020B0A04020102020204" pitchFamily="34" charset="0"/>
                <a:ea typeface="+mj-ea"/>
                <a:cs typeface="Arial" panose="020B0604020202020204" pitchFamily="34" charset="0"/>
              </a:rPr>
              <a:t>Holings</a:t>
            </a:r>
            <a:endParaRPr lang="en-ZA" sz="1800" b="1" kern="0" spc="-3"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endParaRPr lang="en-ZA" altLang="en-US" sz="1800" b="1" kern="0" spc="-3"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ZA" sz="1800" b="1" kern="0" spc="-3" dirty="0">
                <a:latin typeface="Arial Black" panose="020B0A04020102020204" pitchFamily="34" charset="0"/>
                <a:ea typeface="+mj-ea"/>
                <a:cs typeface="Arial" panose="020B0604020202020204" pitchFamily="34" charset="0"/>
              </a:rPr>
              <a:t>Challenges</a:t>
            </a:r>
          </a:p>
          <a:p>
            <a:pPr marL="212415" lvl="0" indent="-212415" defTabSz="849660">
              <a:buFont typeface="Wingdings" pitchFamily="2" charset="2"/>
              <a:buChar char="q"/>
            </a:pPr>
            <a:endParaRPr lang="en-ZA" sz="1800" b="1" kern="0" spc="-3"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ZA" sz="1800" b="1" kern="0" spc="-3" dirty="0">
                <a:latin typeface="Arial Black" panose="020B0A04020102020204" pitchFamily="34" charset="0"/>
                <a:ea typeface="+mj-ea"/>
                <a:cs typeface="Arial" panose="020B0604020202020204" pitchFamily="34" charset="0"/>
              </a:rPr>
              <a:t>Strategies in dealing with illegal mining</a:t>
            </a:r>
          </a:p>
          <a:p>
            <a:pPr marL="212415" lvl="0" indent="-212415" defTabSz="849660">
              <a:buFont typeface="Wingdings" pitchFamily="2" charset="2"/>
              <a:buChar char="q"/>
            </a:pPr>
            <a:endParaRPr lang="en-ZA" sz="1800" b="1" kern="0" spc="-3"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ZA" sz="1800" b="1" kern="0" spc="-3" dirty="0">
                <a:latin typeface="Arial Black" panose="020B0A04020102020204" pitchFamily="34" charset="0"/>
                <a:ea typeface="+mj-ea"/>
                <a:cs typeface="Arial" panose="020B0604020202020204" pitchFamily="34" charset="0"/>
              </a:rPr>
              <a:t>Shafts/</a:t>
            </a:r>
            <a:r>
              <a:rPr lang="en-ZA" sz="1800" b="1" kern="0" spc="-3" dirty="0" err="1">
                <a:latin typeface="Arial Black" panose="020B0A04020102020204" pitchFamily="34" charset="0"/>
                <a:ea typeface="+mj-ea"/>
                <a:cs typeface="Arial" panose="020B0604020202020204" pitchFamily="34" charset="0"/>
              </a:rPr>
              <a:t>Holings</a:t>
            </a:r>
            <a:r>
              <a:rPr lang="en-ZA" sz="1800" b="1" kern="0" spc="-3" dirty="0">
                <a:latin typeface="Arial Black" panose="020B0A04020102020204" pitchFamily="34" charset="0"/>
                <a:ea typeface="+mj-ea"/>
                <a:cs typeface="Arial" panose="020B0604020202020204" pitchFamily="34" charset="0"/>
              </a:rPr>
              <a:t> Sealed </a:t>
            </a:r>
          </a:p>
          <a:p>
            <a:pPr marL="212415" lvl="0" indent="-212415" defTabSz="849660">
              <a:buFont typeface="Wingdings" pitchFamily="2" charset="2"/>
              <a:buChar char="q"/>
            </a:pPr>
            <a:endParaRPr lang="en-ZA" sz="1800" b="1" kern="0" spc="-3"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ZA" sz="1800" kern="0" dirty="0">
                <a:latin typeface="Arial Black" panose="020B0A04020102020204" pitchFamily="34" charset="0"/>
                <a:ea typeface="+mj-ea"/>
                <a:cs typeface="Arial" panose="020B0604020202020204" pitchFamily="34" charset="0"/>
              </a:rPr>
              <a:t>2019/20 Completed Asbestos Rehabilitated</a:t>
            </a:r>
          </a:p>
          <a:p>
            <a:pPr marL="212415" lvl="0" indent="-212415" defTabSz="849660">
              <a:buFont typeface="Wingdings" pitchFamily="2" charset="2"/>
              <a:buChar char="q"/>
            </a:pPr>
            <a:endParaRPr lang="en-ZA" sz="1800" kern="0"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ZA" sz="1800" b="1" kern="0" spc="-3" dirty="0">
                <a:solidFill>
                  <a:prstClr val="black"/>
                </a:solidFill>
                <a:latin typeface="Arial Black" panose="020B0A04020102020204" pitchFamily="34" charset="0"/>
                <a:cs typeface="Arial" panose="020B0604020202020204" pitchFamily="34" charset="0"/>
              </a:rPr>
              <a:t>Work Opportunities</a:t>
            </a:r>
          </a:p>
          <a:p>
            <a:pPr marL="212415" lvl="0" indent="-212415" defTabSz="849660">
              <a:buFont typeface="Wingdings" pitchFamily="2" charset="2"/>
              <a:buChar char="q"/>
            </a:pPr>
            <a:endParaRPr lang="en-ZA" sz="1800" kern="0" dirty="0">
              <a:latin typeface="Arial Black" panose="020B0A04020102020204" pitchFamily="34" charset="0"/>
              <a:ea typeface="+mj-ea"/>
              <a:cs typeface="Arial" panose="020B0604020202020204" pitchFamily="34" charset="0"/>
            </a:endParaRPr>
          </a:p>
          <a:p>
            <a:pPr marL="212415" lvl="0" indent="-212415" defTabSz="849660">
              <a:buFont typeface="Wingdings" pitchFamily="2" charset="2"/>
              <a:buChar char="q"/>
            </a:pPr>
            <a:r>
              <a:rPr lang="en-ZA" altLang="en-US" sz="1800" kern="0" spc="-3" dirty="0">
                <a:latin typeface="Arial Black" panose="020B0A04020102020204" pitchFamily="34" charset="0"/>
                <a:ea typeface="+mj-ea"/>
                <a:cs typeface="Arial" panose="020B0604020202020204" pitchFamily="34" charset="0"/>
              </a:rPr>
              <a:t>Conclusion</a:t>
            </a:r>
          </a:p>
          <a:p>
            <a:pPr marL="212415" lvl="0" indent="-212415" defTabSz="849660">
              <a:lnSpc>
                <a:spcPct val="150000"/>
              </a:lnSpc>
              <a:buFont typeface="Wingdings" pitchFamily="2" charset="2"/>
              <a:buChar char="q"/>
            </a:pPr>
            <a:endParaRPr lang="en-ZA" altLang="en-US" sz="1400" b="1" kern="0" spc="-3" dirty="0">
              <a:latin typeface="Century Gothic"/>
              <a:ea typeface="+mj-ea"/>
              <a:cs typeface="Arial" panose="020B0604020202020204" pitchFamily="34" charset="0"/>
            </a:endParaRPr>
          </a:p>
          <a:p>
            <a:pPr marL="212415" lvl="0" indent="-212415" defTabSz="849660">
              <a:lnSpc>
                <a:spcPct val="150000"/>
              </a:lnSpc>
              <a:buFont typeface="Wingdings" pitchFamily="2" charset="2"/>
              <a:buChar char="q"/>
            </a:pPr>
            <a:endParaRPr lang="en-ZA" altLang="en-US" sz="2800" b="1" kern="0" spc="-3" dirty="0">
              <a:latin typeface="Century Gothic"/>
              <a:ea typeface="+mj-ea"/>
              <a:cs typeface="Arial" panose="020B0604020202020204" pitchFamily="34" charset="0"/>
            </a:endParaRPr>
          </a:p>
          <a:p>
            <a:pPr marL="212415" lvl="0" indent="-212415" defTabSz="849660">
              <a:lnSpc>
                <a:spcPct val="150000"/>
              </a:lnSpc>
              <a:buFont typeface="Wingdings" pitchFamily="2" charset="2"/>
              <a:buChar char="q"/>
            </a:pPr>
            <a:endParaRPr lang="en-ZA" altLang="en-US" sz="1200" dirty="0">
              <a:latin typeface="Arial" panose="020B0604020202020204" pitchFamily="34" charset="0"/>
              <a:ea typeface="+mj-ea"/>
              <a:cs typeface="Arial" panose="020B0604020202020204" pitchFamily="34" charset="0"/>
            </a:endParaRPr>
          </a:p>
          <a:p>
            <a:pPr marL="212415" lvl="0" indent="-212415" defTabSz="849660">
              <a:lnSpc>
                <a:spcPct val="150000"/>
              </a:lnSpc>
              <a:buFont typeface="Wingdings" pitchFamily="2" charset="2"/>
              <a:buChar char="q"/>
            </a:pPr>
            <a:endParaRPr lang="en-ZA" altLang="en-US" sz="1200" dirty="0">
              <a:latin typeface="Arial" panose="020B0604020202020204" pitchFamily="34" charset="0"/>
              <a:ea typeface="+mj-ea"/>
              <a:cs typeface="Arial" panose="020B0604020202020204" pitchFamily="34" charset="0"/>
            </a:endParaRPr>
          </a:p>
          <a:p>
            <a:pPr marL="212415" lvl="0" indent="-212415" defTabSz="849660">
              <a:lnSpc>
                <a:spcPct val="150000"/>
              </a:lnSpc>
              <a:buFont typeface="Wingdings" pitchFamily="2" charset="2"/>
              <a:buChar char="q"/>
            </a:pPr>
            <a:endParaRPr lang="en-ZA" altLang="en-US" sz="1200" dirty="0">
              <a:latin typeface="Arial" panose="020B0604020202020204" pitchFamily="34" charset="0"/>
              <a:ea typeface="+mj-ea"/>
              <a:cs typeface="Arial" panose="020B0604020202020204" pitchFamily="34" charset="0"/>
            </a:endParaRPr>
          </a:p>
          <a:p>
            <a:pPr marL="212415" lvl="0" indent="-212415" defTabSz="849660">
              <a:lnSpc>
                <a:spcPct val="150000"/>
              </a:lnSpc>
              <a:buFont typeface="Wingdings" pitchFamily="2" charset="2"/>
              <a:buChar char="q"/>
            </a:pPr>
            <a:endParaRPr lang="en-US" altLang="en-US" sz="1200"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a:t>
            </a:fld>
            <a:endParaRPr lang="en-US" altLang="en-US" dirty="0"/>
          </a:p>
        </p:txBody>
      </p:sp>
    </p:spTree>
    <p:extLst>
      <p:ext uri="{BB962C8B-B14F-4D97-AF65-F5344CB8AC3E}">
        <p14:creationId xmlns:p14="http://schemas.microsoft.com/office/powerpoint/2010/main" xmlns="" val="20751349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533178" y="678321"/>
            <a:ext cx="6295461" cy="723061"/>
          </a:xfrm>
        </p:spPr>
        <p:txBody>
          <a:bodyPr vert="horz" wrap="square" lIns="0" tIns="8297" rIns="0" bIns="0" numCol="1" rtlCol="0" anchor="t" anchorCtr="0" compatLnSpc="1">
            <a:prstTxWarp prst="textNoShape">
              <a:avLst/>
            </a:prstTxWarp>
            <a:spAutoFit/>
          </a:bodyPr>
          <a:lstStyle/>
          <a:p>
            <a:pPr lvl="0" eaLnBrk="1" fontAlgn="auto" hangingPunct="1">
              <a:lnSpc>
                <a:spcPct val="90000"/>
              </a:lnSpc>
              <a:spcBef>
                <a:spcPts val="1000"/>
              </a:spcBef>
              <a:spcAft>
                <a:spcPts val="0"/>
              </a:spcAft>
            </a:pPr>
            <a:r>
              <a:rPr lang="en-ZA" sz="3200" b="0" kern="1200" dirty="0">
                <a:solidFill>
                  <a:schemeClr val="bg1">
                    <a:lumMod val="95000"/>
                  </a:schemeClr>
                </a:solidFill>
                <a:latin typeface="Arial" panose="020B0604020202020204" pitchFamily="34" charset="0"/>
                <a:ea typeface="+mn-ea"/>
                <a:cs typeface="Arial" panose="020B0604020202020204" pitchFamily="34" charset="0"/>
              </a:rPr>
              <a:t>Introductory Remarks</a:t>
            </a:r>
            <a:r>
              <a:rPr lang="en-ZA" sz="3200" b="0" kern="1200" dirty="0">
                <a:solidFill>
                  <a:prstClr val="black">
                    <a:lumMod val="75000"/>
                    <a:lumOff val="25000"/>
                  </a:prstClr>
                </a:solidFill>
                <a:latin typeface="Arial" panose="020B0604020202020204" pitchFamily="34" charset="0"/>
                <a:ea typeface="+mn-ea"/>
                <a:cs typeface="Arial" panose="020B0604020202020204" pitchFamily="34" charset="0"/>
              </a:rPr>
              <a:t/>
            </a:r>
            <a:br>
              <a:rPr lang="en-ZA" sz="3200" b="0" kern="1200" dirty="0">
                <a:solidFill>
                  <a:prstClr val="black">
                    <a:lumMod val="75000"/>
                    <a:lumOff val="25000"/>
                  </a:prstClr>
                </a:solidFill>
                <a:latin typeface="Arial" panose="020B0604020202020204" pitchFamily="34" charset="0"/>
                <a:ea typeface="+mn-ea"/>
                <a:cs typeface="Arial" panose="020B0604020202020204" pitchFamily="34" charset="0"/>
              </a:rPr>
            </a:br>
            <a:endParaRPr dirty="0"/>
          </a:p>
        </p:txBody>
      </p:sp>
      <p:sp>
        <p:nvSpPr>
          <p:cNvPr id="32771" name="object 3"/>
          <p:cNvSpPr txBox="1">
            <a:spLocks noChangeArrowheads="1"/>
          </p:cNvSpPr>
          <p:nvPr/>
        </p:nvSpPr>
        <p:spPr bwMode="auto">
          <a:xfrm>
            <a:off x="286729" y="2078255"/>
            <a:ext cx="7989435" cy="22157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just">
              <a:spcAft>
                <a:spcPts val="0"/>
              </a:spcAft>
            </a:pPr>
            <a:r>
              <a:rPr lang="en-US" altLang="en-US" sz="2400" dirty="0">
                <a:solidFill>
                  <a:prstClr val="black">
                    <a:lumMod val="75000"/>
                    <a:lumOff val="25000"/>
                  </a:prstClr>
                </a:solidFill>
                <a:latin typeface="Arial" panose="020B0604020202020204" pitchFamily="34" charset="0"/>
                <a:cs typeface="Arial" panose="020B0604020202020204" pitchFamily="34" charset="0"/>
              </a:rPr>
              <a:t>	</a:t>
            </a:r>
            <a:r>
              <a:rPr lang="en-US" altLang="en-US" sz="2800" dirty="0">
                <a:solidFill>
                  <a:prstClr val="black">
                    <a:lumMod val="75000"/>
                    <a:lumOff val="25000"/>
                  </a:prstClr>
                </a:solidFill>
                <a:latin typeface="Arial" panose="020B0604020202020204" pitchFamily="34" charset="0"/>
                <a:cs typeface="Arial" panose="020B0604020202020204" pitchFamily="34" charset="0"/>
              </a:rPr>
              <a:t>The purpose of this presentation is to brief the Portfolio Committee on Mineral Resources and Energy on  D</a:t>
            </a:r>
            <a:r>
              <a:rPr lang="en-US" sz="2800" dirty="0">
                <a:latin typeface="Arial" panose="020B0604020202020204" pitchFamily="34" charset="0"/>
                <a:cs typeface="Arial" panose="020B0604020202020204" pitchFamily="34" charset="0"/>
              </a:rPr>
              <a:t>erelict and Ownerless Mines, including rehabilitation of asbestos mines</a:t>
            </a:r>
            <a:endParaRPr lang="en-ZA" sz="2800" dirty="0">
              <a:latin typeface="Arial" panose="020B0604020202020204" pitchFamily="34" charset="0"/>
              <a:cs typeface="Arial" panose="020B0604020202020204" pitchFamily="34" charset="0"/>
            </a:endParaRPr>
          </a:p>
          <a:p>
            <a:pPr marL="212415" lvl="0" indent="-212415" defTabSz="849660">
              <a:lnSpc>
                <a:spcPct val="150000"/>
              </a:lnSpc>
              <a:buFont typeface="Wingdings" pitchFamily="2" charset="2"/>
              <a:buChar char="q"/>
            </a:pPr>
            <a:endParaRPr kumimoji="0" lang="en-US" altLang="en-US" sz="2400" b="0" i="0" u="none" strike="noStrike" kern="1200" cap="none" spc="0" normalizeH="0" baseline="0" noProof="0" dirty="0">
              <a:ln>
                <a:noFill/>
              </a:ln>
              <a:solidFill>
                <a:srgbClr val="00603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4</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xmlns="" val="14493765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83890" y="709415"/>
            <a:ext cx="8514826" cy="37771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US" sz="2400" kern="1200" dirty="0">
                <a:solidFill>
                  <a:prstClr val="white"/>
                </a:solidFill>
                <a:latin typeface="Arial" panose="020B0604020202020204" pitchFamily="34" charset="0"/>
                <a:cs typeface="Arial" panose="020B0604020202020204" pitchFamily="34" charset="0"/>
                <a:sym typeface="Calibri"/>
              </a:rPr>
              <a:t>SOUTH AFRICAN </a:t>
            </a:r>
            <a:r>
              <a:rPr lang="en-ZA" sz="2400" kern="1200" dirty="0">
                <a:solidFill>
                  <a:prstClr val="white"/>
                </a:solidFill>
                <a:latin typeface="Arial" panose="020B0604020202020204" pitchFamily="34" charset="0"/>
                <a:cs typeface="Arial" panose="020B0604020202020204" pitchFamily="34" charset="0"/>
              </a:rPr>
              <a:t>MINE LEGISLATION HISTORY </a:t>
            </a:r>
            <a:endParaRPr sz="2400" dirty="0"/>
          </a:p>
        </p:txBody>
      </p:sp>
      <p:sp>
        <p:nvSpPr>
          <p:cNvPr id="32771" name="object 3"/>
          <p:cNvSpPr txBox="1">
            <a:spLocks noChangeArrowheads="1"/>
          </p:cNvSpPr>
          <p:nvPr/>
        </p:nvSpPr>
        <p:spPr bwMode="auto">
          <a:xfrm>
            <a:off x="380470" y="1256721"/>
            <a:ext cx="7951260" cy="52469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85750" lvl="0" indent="-285750" defTabSz="914400">
              <a:lnSpc>
                <a:spcPct val="120000"/>
              </a:lnSpc>
              <a:spcBef>
                <a:spcPts val="600"/>
              </a:spcBef>
              <a:spcAft>
                <a:spcPts val="600"/>
              </a:spcAft>
              <a:buSzPct val="80000"/>
              <a:buFont typeface="Wingdings" pitchFamily="2" charset="2"/>
              <a:buChar char="q"/>
            </a:pPr>
            <a:r>
              <a:rPr lang="en-ZA" sz="1800" dirty="0">
                <a:solidFill>
                  <a:prstClr val="black"/>
                </a:solidFill>
                <a:latin typeface="Arial" panose="020B0604020202020204" pitchFamily="34" charset="0"/>
                <a:cs typeface="Arial" panose="020B0604020202020204" pitchFamily="34" charset="0"/>
              </a:rPr>
              <a:t>South Africa has a long history of formalised mining which extents for a period of approximately one and half century.</a:t>
            </a:r>
          </a:p>
          <a:p>
            <a:pPr marL="285750" lvl="0" indent="-285750" defTabSz="914400">
              <a:lnSpc>
                <a:spcPct val="120000"/>
              </a:lnSpc>
              <a:spcBef>
                <a:spcPts val="600"/>
              </a:spcBef>
              <a:spcAft>
                <a:spcPts val="600"/>
              </a:spcAft>
              <a:buSzPct val="80000"/>
              <a:buFont typeface="Wingdings" pitchFamily="2" charset="2"/>
              <a:buChar char="q"/>
            </a:pPr>
            <a:r>
              <a:rPr lang="en-ZA" sz="1800" dirty="0">
                <a:solidFill>
                  <a:prstClr val="black"/>
                </a:solidFill>
                <a:latin typeface="Arial" panose="020B0604020202020204" pitchFamily="34" charset="0"/>
                <a:cs typeface="Arial" panose="020B0604020202020204" pitchFamily="34" charset="0"/>
              </a:rPr>
              <a:t>However, it was only in 1956 when the Mines and Works act of 1956 introduced a requirement to </a:t>
            </a:r>
            <a:r>
              <a:rPr lang="en-ZA" sz="1800" b="1" dirty="0">
                <a:solidFill>
                  <a:srgbClr val="FF0000"/>
                </a:solidFill>
                <a:latin typeface="Arial" panose="020B0604020202020204" pitchFamily="34" charset="0"/>
                <a:cs typeface="Arial" panose="020B0604020202020204" pitchFamily="34" charset="0"/>
              </a:rPr>
              <a:t>only</a:t>
            </a:r>
            <a:r>
              <a:rPr lang="en-ZA" sz="1800" dirty="0">
                <a:solidFill>
                  <a:prstClr val="black"/>
                </a:solidFill>
                <a:latin typeface="Arial" panose="020B0604020202020204" pitchFamily="34" charset="0"/>
                <a:cs typeface="Arial" panose="020B0604020202020204" pitchFamily="34" charset="0"/>
              </a:rPr>
              <a:t> install fencing around a mining area upon closure of a mine to protect animals.</a:t>
            </a:r>
          </a:p>
          <a:p>
            <a:pPr marL="285750" lvl="0" indent="-285750" defTabSz="914400">
              <a:lnSpc>
                <a:spcPct val="120000"/>
              </a:lnSpc>
              <a:spcBef>
                <a:spcPts val="600"/>
              </a:spcBef>
              <a:spcAft>
                <a:spcPts val="600"/>
              </a:spcAft>
              <a:buFont typeface="Wingdings" pitchFamily="2" charset="2"/>
              <a:buChar char="q"/>
            </a:pPr>
            <a:r>
              <a:rPr lang="en-ZA" sz="1800" dirty="0">
                <a:solidFill>
                  <a:prstClr val="black"/>
                </a:solidFill>
                <a:latin typeface="Arial" panose="020B0604020202020204" pitchFamily="34" charset="0"/>
                <a:cs typeface="Arial" panose="020B0604020202020204" pitchFamily="34" charset="0"/>
              </a:rPr>
              <a:t>Conspicuous absence of mine environmental legislation as well as  proper coordination of all relevant pieces of legislations made it impossible to implement polluter pays principle for many years.</a:t>
            </a:r>
          </a:p>
          <a:p>
            <a:pPr marL="285750" lvl="0" indent="-285750" defTabSz="914400">
              <a:lnSpc>
                <a:spcPct val="120000"/>
              </a:lnSpc>
              <a:spcBef>
                <a:spcPts val="600"/>
              </a:spcBef>
              <a:spcAft>
                <a:spcPts val="600"/>
              </a:spcAft>
              <a:buFont typeface="Wingdings" pitchFamily="2" charset="2"/>
              <a:buChar char="q"/>
            </a:pPr>
            <a:r>
              <a:rPr lang="en-ZA" sz="1800" dirty="0">
                <a:solidFill>
                  <a:prstClr val="black"/>
                </a:solidFill>
                <a:latin typeface="Arial" panose="020B0604020202020204" pitchFamily="34" charset="0"/>
                <a:cs typeface="Arial" panose="020B0604020202020204" pitchFamily="34" charset="0"/>
              </a:rPr>
              <a:t>Hence, a liability of </a:t>
            </a:r>
            <a:r>
              <a:rPr lang="en-US" sz="1800" dirty="0">
                <a:solidFill>
                  <a:prstClr val="black"/>
                </a:solidFill>
                <a:latin typeface="Arial" panose="020B0604020202020204" pitchFamily="34" charset="0"/>
                <a:cs typeface="Arial" panose="020B0604020202020204" pitchFamily="34" charset="0"/>
              </a:rPr>
              <a:t>approximately 6000 Derelict and Ownerless (D&amp;O) mine sites is inherited by the state. </a:t>
            </a:r>
            <a:r>
              <a:rPr lang="en-ZA" altLang="en-US" sz="1800" dirty="0">
                <a:solidFill>
                  <a:prstClr val="black">
                    <a:lumMod val="75000"/>
                    <a:lumOff val="25000"/>
                  </a:prstClr>
                </a:solidFill>
                <a:latin typeface="Arial" panose="020B0604020202020204" pitchFamily="34" charset="0"/>
                <a:cs typeface="Arial" panose="020B0604020202020204" pitchFamily="34" charset="0"/>
              </a:rPr>
              <a:t>D&amp;O,s are mines whose owners or mining rights have abandoned and are not operating nor maintaining to mitigate and manage their associated health and environmental impacts as well as those mines whose owners or operators can no longer be traced.  </a:t>
            </a:r>
            <a:endParaRPr lang="en-US" sz="1800" dirty="0">
              <a:solidFill>
                <a:prstClr val="black"/>
              </a:solidFill>
              <a:latin typeface="Arial" panose="020B0604020202020204" pitchFamily="34" charset="0"/>
              <a:cs typeface="Arial" panose="020B0604020202020204" pitchFamily="34" charset="0"/>
            </a:endParaRPr>
          </a:p>
          <a:p>
            <a:pPr marL="0" lvl="0" indent="0" defTabSz="914400">
              <a:lnSpc>
                <a:spcPct val="120000"/>
              </a:lnSpc>
              <a:spcBef>
                <a:spcPts val="600"/>
              </a:spcBef>
              <a:spcAft>
                <a:spcPts val="600"/>
              </a:spcAft>
              <a:buSzPct val="80000"/>
            </a:pPr>
            <a:endParaRPr lang="en-ZA" sz="1800" dirty="0">
              <a:solidFill>
                <a:prstClr val="black"/>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5</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xmlns="" val="1467589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object 2"/>
          <p:cNvSpPr txBox="1">
            <a:spLocks noGrp="1"/>
          </p:cNvSpPr>
          <p:nvPr>
            <p:ph type="title"/>
          </p:nvPr>
        </p:nvSpPr>
        <p:spPr>
          <a:xfrm>
            <a:off x="-83890" y="709415"/>
            <a:ext cx="8514826" cy="377710"/>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US" sz="2400" kern="1200" dirty="0">
                <a:solidFill>
                  <a:prstClr val="white"/>
                </a:solidFill>
                <a:latin typeface="Arial" panose="020B0604020202020204" pitchFamily="34" charset="0"/>
                <a:cs typeface="Arial" panose="020B0604020202020204" pitchFamily="34" charset="0"/>
                <a:sym typeface="Calibri"/>
              </a:rPr>
              <a:t>SOUTH AFRICAN </a:t>
            </a:r>
            <a:r>
              <a:rPr lang="en-ZA" sz="2400" kern="1200" dirty="0">
                <a:solidFill>
                  <a:prstClr val="white"/>
                </a:solidFill>
                <a:latin typeface="Arial" panose="020B0604020202020204" pitchFamily="34" charset="0"/>
                <a:cs typeface="Arial" panose="020B0604020202020204" pitchFamily="34" charset="0"/>
              </a:rPr>
              <a:t>MINE LEGISLATION HISTORY </a:t>
            </a:r>
            <a:endParaRPr sz="2400" dirty="0"/>
          </a:p>
        </p:txBody>
      </p:sp>
      <p:sp>
        <p:nvSpPr>
          <p:cNvPr id="32771" name="object 3"/>
          <p:cNvSpPr txBox="1">
            <a:spLocks noChangeArrowheads="1"/>
          </p:cNvSpPr>
          <p:nvPr/>
        </p:nvSpPr>
        <p:spPr bwMode="auto">
          <a:xfrm>
            <a:off x="395786" y="1323833"/>
            <a:ext cx="7783236" cy="60019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8297" rIns="0" bIns="0">
            <a:spAutoFit/>
          </a:bodyPr>
          <a:lstStyle>
            <a:lvl1pPr marL="342900" indent="-342900">
              <a:defRPr>
                <a:solidFill>
                  <a:schemeClr val="tx1"/>
                </a:solidFill>
                <a:latin typeface="Calibri" panose="020F0502020204030204" pitchFamily="34" charset="0"/>
              </a:defRPr>
            </a:lvl1pPr>
            <a:lvl2pPr>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12415" lvl="0" indent="-212415" defTabSz="849660">
              <a:lnSpc>
                <a:spcPct val="150000"/>
              </a:lnSpc>
              <a:buFont typeface="Wingdings" pitchFamily="2" charset="2"/>
              <a:buChar char="q"/>
            </a:pPr>
            <a:r>
              <a:rPr lang="en-US" sz="1800" dirty="0">
                <a:solidFill>
                  <a:prstClr val="black">
                    <a:lumMod val="75000"/>
                    <a:lumOff val="25000"/>
                  </a:prstClr>
                </a:solidFill>
                <a:latin typeface="Arial" panose="020B0604020202020204" pitchFamily="34" charset="0"/>
                <a:cs typeface="Arial" panose="020B0604020202020204" pitchFamily="34" charset="0"/>
              </a:rPr>
              <a:t>Upon declaration of asbestos as an extreme health hazard substance by international community, the South African Government  legally embargoed the mining of asbestos in 1999.</a:t>
            </a:r>
          </a:p>
          <a:p>
            <a:pPr marL="285750" lvl="0" indent="-285750" algn="just" defTabSz="914400">
              <a:lnSpc>
                <a:spcPct val="114000"/>
              </a:lnSpc>
              <a:buSzPct val="80000"/>
              <a:buFont typeface="Wingdings" pitchFamily="2" charset="2"/>
              <a:buChar char="q"/>
            </a:pPr>
            <a:r>
              <a:rPr lang="en-US" sz="1800" dirty="0">
                <a:solidFill>
                  <a:prstClr val="black"/>
                </a:solidFill>
                <a:latin typeface="Arial" panose="020B0604020202020204"/>
              </a:rPr>
              <a:t>In early 2000 government through the Department  of Mineral Resources initiated a research </a:t>
            </a:r>
            <a:r>
              <a:rPr lang="en-US" sz="1800" dirty="0" err="1">
                <a:solidFill>
                  <a:prstClr val="black"/>
                </a:solidFill>
                <a:latin typeface="Arial" panose="020B0604020202020204"/>
              </a:rPr>
              <a:t>programme</a:t>
            </a:r>
            <a:r>
              <a:rPr lang="en-US" sz="1800" dirty="0">
                <a:solidFill>
                  <a:prstClr val="black"/>
                </a:solidFill>
                <a:latin typeface="Arial" panose="020B0604020202020204"/>
              </a:rPr>
              <a:t> on derelict and ownerless mines in order to:</a:t>
            </a:r>
          </a:p>
          <a:p>
            <a:pPr marL="457200" lvl="1" algn="just" defTabSz="914400">
              <a:spcBef>
                <a:spcPts val="300"/>
              </a:spcBef>
              <a:spcAft>
                <a:spcPts val="300"/>
              </a:spcAft>
              <a:buFont typeface="Wingdings" panose="05000000000000000000" pitchFamily="2" charset="2"/>
              <a:buChar char="ü"/>
            </a:pPr>
            <a:r>
              <a:rPr lang="en-US" sz="1800" dirty="0">
                <a:solidFill>
                  <a:prstClr val="black"/>
                </a:solidFill>
                <a:latin typeface="Arial" panose="020B0604020202020204"/>
              </a:rPr>
              <a:t>Establish a baseline understanding of the scope of the problem of derelict and ownerless mines</a:t>
            </a:r>
          </a:p>
          <a:p>
            <a:pPr marL="457200" lvl="1" algn="just" defTabSz="914400">
              <a:spcBef>
                <a:spcPts val="300"/>
              </a:spcBef>
              <a:spcAft>
                <a:spcPts val="300"/>
              </a:spcAft>
              <a:buFont typeface="Wingdings" panose="05000000000000000000" pitchFamily="2" charset="2"/>
              <a:buChar char="ü"/>
            </a:pPr>
            <a:r>
              <a:rPr lang="en-US" sz="1800" dirty="0">
                <a:solidFill>
                  <a:prstClr val="black"/>
                </a:solidFill>
                <a:latin typeface="Arial" panose="020B0604020202020204"/>
              </a:rPr>
              <a:t>Pilot the </a:t>
            </a:r>
            <a:r>
              <a:rPr lang="en-US" sz="1800" dirty="0" err="1">
                <a:solidFill>
                  <a:prstClr val="black"/>
                </a:solidFill>
                <a:latin typeface="Arial" panose="020B0604020202020204"/>
              </a:rPr>
              <a:t>programme</a:t>
            </a:r>
            <a:r>
              <a:rPr lang="en-US" sz="1800" dirty="0">
                <a:solidFill>
                  <a:prstClr val="black"/>
                </a:solidFill>
                <a:latin typeface="Arial" panose="020B0604020202020204"/>
              </a:rPr>
              <a:t> of implementation, largely informed by risk of asbestos </a:t>
            </a:r>
          </a:p>
          <a:p>
            <a:pPr marL="457200" lvl="1" algn="just" defTabSz="914400">
              <a:spcBef>
                <a:spcPts val="300"/>
              </a:spcBef>
              <a:spcAft>
                <a:spcPts val="300"/>
              </a:spcAft>
              <a:buFont typeface="Wingdings" panose="05000000000000000000" pitchFamily="2" charset="2"/>
              <a:buChar char="ü"/>
            </a:pPr>
            <a:r>
              <a:rPr lang="en-US" sz="1800" dirty="0">
                <a:solidFill>
                  <a:prstClr val="black"/>
                </a:solidFill>
                <a:latin typeface="Arial" panose="020B0604020202020204"/>
              </a:rPr>
              <a:t>Secure annual allocation of funds for a </a:t>
            </a:r>
            <a:r>
              <a:rPr lang="en-US" sz="1800" dirty="0" err="1">
                <a:solidFill>
                  <a:prstClr val="black"/>
                </a:solidFill>
                <a:latin typeface="Arial" panose="020B0604020202020204"/>
              </a:rPr>
              <a:t>programme</a:t>
            </a:r>
            <a:r>
              <a:rPr lang="en-US" sz="1800" dirty="0">
                <a:solidFill>
                  <a:prstClr val="black"/>
                </a:solidFill>
                <a:latin typeface="Arial" panose="020B0604020202020204"/>
              </a:rPr>
              <a:t>  </a:t>
            </a:r>
          </a:p>
          <a:p>
            <a:pPr marL="457200" lvl="1" algn="just" defTabSz="914400">
              <a:spcBef>
                <a:spcPts val="300"/>
              </a:spcBef>
              <a:spcAft>
                <a:spcPts val="300"/>
              </a:spcAft>
              <a:buFont typeface="Wingdings" panose="05000000000000000000" pitchFamily="2" charset="2"/>
              <a:buChar char="ü"/>
            </a:pPr>
            <a:r>
              <a:rPr lang="en-US" sz="1800" dirty="0">
                <a:solidFill>
                  <a:prstClr val="black"/>
                </a:solidFill>
                <a:latin typeface="Arial" panose="020B0604020202020204"/>
              </a:rPr>
              <a:t>Develop a database</a:t>
            </a:r>
          </a:p>
          <a:p>
            <a:pPr marL="457200" lvl="1" algn="just" defTabSz="914400">
              <a:spcBef>
                <a:spcPts val="300"/>
              </a:spcBef>
              <a:spcAft>
                <a:spcPts val="300"/>
              </a:spcAft>
              <a:buFont typeface="Wingdings" panose="05000000000000000000" pitchFamily="2" charset="2"/>
              <a:buChar char="ü"/>
            </a:pPr>
            <a:r>
              <a:rPr lang="en-US" sz="1800" dirty="0">
                <a:solidFill>
                  <a:prstClr val="black"/>
                </a:solidFill>
                <a:latin typeface="Arial" panose="020B0604020202020204"/>
              </a:rPr>
              <a:t>Quantify the extent of the liability </a:t>
            </a:r>
          </a:p>
          <a:p>
            <a:pPr marL="212415" lvl="0" indent="-212415" defTabSz="849660">
              <a:lnSpc>
                <a:spcPct val="150000"/>
              </a:lnSpc>
              <a:buFont typeface="Wingdings" pitchFamily="2" charset="2"/>
              <a:buChar char="q"/>
            </a:pPr>
            <a:endParaRPr kumimoji="0" lang="en-US" alt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entury Gothic" panose="020B0502020202020204" pitchFamily="34" charset="0"/>
              <a:cs typeface="Arial" panose="020B0604020202020204" pitchFamily="34" charset="0"/>
            </a:endParaRPr>
          </a:p>
          <a:p>
            <a:pPr marL="212415" lvl="0" indent="-212415" defTabSz="849660">
              <a:lnSpc>
                <a:spcPct val="150000"/>
              </a:lnSpc>
              <a:buFont typeface="Wingdings" pitchFamily="2" charset="2"/>
              <a:buChar char="q"/>
            </a:pPr>
            <a:endParaRPr lang="en-US" altLang="en-US" sz="1800" dirty="0">
              <a:solidFill>
                <a:prstClr val="black">
                  <a:lumMod val="75000"/>
                  <a:lumOff val="25000"/>
                </a:prstClr>
              </a:solidFill>
              <a:latin typeface="Arial" panose="020B0604020202020204" pitchFamily="34" charset="0"/>
              <a:ea typeface="Century Gothic" panose="020B0502020202020204" pitchFamily="34" charset="0"/>
              <a:cs typeface="Arial" panose="020B0604020202020204" pitchFamily="34" charset="0"/>
            </a:endParaRPr>
          </a:p>
          <a:p>
            <a:pPr marL="212415" lvl="0" indent="-212415" defTabSz="849660">
              <a:lnSpc>
                <a:spcPct val="150000"/>
              </a:lnSpc>
              <a:buFont typeface="Wingdings" pitchFamily="2" charset="2"/>
              <a:buChar char="q"/>
            </a:pPr>
            <a:endParaRPr kumimoji="0" lang="en-US" altLang="en-US" sz="3200" b="0" i="0" u="none" strike="noStrike" kern="1200" cap="none" spc="0" normalizeH="0" baseline="0" noProof="0" dirty="0">
              <a:ln>
                <a:noFill/>
              </a:ln>
              <a:solidFill>
                <a:srgbClr val="006030"/>
              </a:solidFill>
              <a:effectLst/>
              <a:uLnTx/>
              <a:uFillTx/>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6</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xmlns="" val="34211720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object 2"/>
          <p:cNvSpPr txBox="1">
            <a:spLocks noGrp="1"/>
          </p:cNvSpPr>
          <p:nvPr>
            <p:ph type="title"/>
          </p:nvPr>
        </p:nvSpPr>
        <p:spPr>
          <a:xfrm>
            <a:off x="419450" y="769938"/>
            <a:ext cx="7239699" cy="439265"/>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z="2800" spc="-3" dirty="0"/>
              <a:t>SEALING OF OPEN SHAFTS/HOLINGS</a:t>
            </a:r>
            <a:endParaRPr sz="2800" dirty="0"/>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7</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4" name="Rectangle 3">
            <a:extLst>
              <a:ext uri="{FF2B5EF4-FFF2-40B4-BE49-F238E27FC236}">
                <a16:creationId xmlns:a16="http://schemas.microsoft.com/office/drawing/2014/main" xmlns="" id="{0EB8BDFF-C30F-43E0-AC6E-3F03405D69D3}"/>
              </a:ext>
            </a:extLst>
          </p:cNvPr>
          <p:cNvSpPr/>
          <p:nvPr/>
        </p:nvSpPr>
        <p:spPr>
          <a:xfrm>
            <a:off x="287439" y="1342244"/>
            <a:ext cx="8137321" cy="3775393"/>
          </a:xfrm>
          <a:prstGeom prst="rect">
            <a:avLst/>
          </a:prstGeom>
        </p:spPr>
        <p:txBody>
          <a:bodyPr wrap="square">
            <a:spAutoFit/>
          </a:bodyPr>
          <a:lstStyle/>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In the previous financial year, the department sealed 61 dangerous shafts through </a:t>
            </a:r>
            <a:r>
              <a:rPr kumimoji="0" lang="en-US" sz="20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Mintek</a:t>
            </a: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and CGS;</a:t>
            </a:r>
          </a:p>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endPar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The department implemented a temporary measure to address </a:t>
            </a:r>
            <a:r>
              <a:rPr kumimoji="0" lang="en-US" sz="20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Belmoral</a:t>
            </a: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shaft since the family of the child who fell in the shaft requested the Ekurhuleni Municipality to conduct the rituals. Although the municipality has made an undertaking to perform rituals, this has however not materialized yet.</a:t>
            </a:r>
          </a:p>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endParaRPr lang="en-US" sz="2000" dirty="0">
              <a:solidFill>
                <a:prstClr val="black">
                  <a:lumMod val="75000"/>
                  <a:lumOff val="25000"/>
                </a:prstClr>
              </a:solidFill>
              <a:latin typeface="Arial" panose="020B0604020202020204" pitchFamily="34" charset="0"/>
              <a:cs typeface="Arial" panose="020B0604020202020204" pitchFamily="34" charset="0"/>
            </a:endParaRPr>
          </a:p>
          <a:p>
            <a:pPr marL="342900" marR="0" lvl="0" indent="-342900" algn="just" defTabSz="653430" rtl="0" eaLnBrk="1" fontAlgn="auto" latinLnBrk="0" hangingPunct="1">
              <a:lnSpc>
                <a:spcPct val="90000"/>
              </a:lnSpc>
              <a:spcBef>
                <a:spcPts val="715"/>
              </a:spcBef>
              <a:spcAft>
                <a:spcPts val="0"/>
              </a:spcAft>
              <a:buClrTx/>
              <a:buSzTx/>
              <a:buFont typeface="Wingdings" panose="05000000000000000000" pitchFamily="2" charset="2"/>
              <a:buChar char="q"/>
              <a:tabLst/>
              <a:defRPr/>
            </a:pPr>
            <a:r>
              <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Furthermore, three Asbestos Mine Sites were rehabilitated.  They include Stratham,</a:t>
            </a:r>
            <a:r>
              <a:rPr lang="en-US" sz="2000" dirty="0">
                <a:solidFill>
                  <a:prstClr val="black">
                    <a:lumMod val="75000"/>
                    <a:lumOff val="25000"/>
                  </a:prstClr>
                </a:solidFill>
                <a:latin typeface="Arial" panose="020B0604020202020204" pitchFamily="34" charset="0"/>
                <a:cs typeface="Arial" panose="020B0604020202020204" pitchFamily="34" charset="0"/>
              </a:rPr>
              <a:t> </a:t>
            </a:r>
            <a:r>
              <a:rPr lang="en-US" sz="2000" dirty="0" err="1">
                <a:solidFill>
                  <a:prstClr val="black">
                    <a:lumMod val="75000"/>
                    <a:lumOff val="25000"/>
                  </a:prstClr>
                </a:solidFill>
                <a:latin typeface="Arial" panose="020B0604020202020204" pitchFamily="34" charset="0"/>
                <a:cs typeface="Arial" panose="020B0604020202020204" pitchFamily="34" charset="0"/>
              </a:rPr>
              <a:t>Steelpoort</a:t>
            </a:r>
            <a:r>
              <a:rPr lang="en-US" sz="2000" dirty="0">
                <a:solidFill>
                  <a:prstClr val="black">
                    <a:lumMod val="75000"/>
                    <a:lumOff val="25000"/>
                  </a:prstClr>
                </a:solidFill>
                <a:latin typeface="Arial" panose="020B0604020202020204" pitchFamily="34" charset="0"/>
                <a:cs typeface="Arial" panose="020B0604020202020204" pitchFamily="34" charset="0"/>
              </a:rPr>
              <a:t> at </a:t>
            </a:r>
            <a:r>
              <a:rPr lang="en-US" sz="2000" dirty="0" err="1">
                <a:solidFill>
                  <a:prstClr val="black">
                    <a:lumMod val="75000"/>
                    <a:lumOff val="25000"/>
                  </a:prstClr>
                </a:solidFill>
                <a:latin typeface="Arial" panose="020B0604020202020204" pitchFamily="34" charset="0"/>
                <a:cs typeface="Arial" panose="020B0604020202020204" pitchFamily="34" charset="0"/>
              </a:rPr>
              <a:t>Sekhukhuni</a:t>
            </a:r>
            <a:r>
              <a:rPr lang="en-US" sz="2000" dirty="0">
                <a:solidFill>
                  <a:prstClr val="black">
                    <a:lumMod val="75000"/>
                    <a:lumOff val="25000"/>
                  </a:prstClr>
                </a:solidFill>
                <a:latin typeface="Arial" panose="020B0604020202020204" pitchFamily="34" charset="0"/>
                <a:cs typeface="Arial" panose="020B0604020202020204" pitchFamily="34" charset="0"/>
              </a:rPr>
              <a:t> in Limpopo Province and </a:t>
            </a:r>
            <a:r>
              <a:rPr lang="en-US" sz="2000" dirty="0" err="1">
                <a:solidFill>
                  <a:prstClr val="black">
                    <a:lumMod val="75000"/>
                    <a:lumOff val="25000"/>
                  </a:prstClr>
                </a:solidFill>
                <a:latin typeface="Arial" panose="020B0604020202020204" pitchFamily="34" charset="0"/>
                <a:cs typeface="Arial" panose="020B0604020202020204" pitchFamily="34" charset="0"/>
              </a:rPr>
              <a:t>Msauli</a:t>
            </a:r>
            <a:r>
              <a:rPr lang="en-US" sz="2000" dirty="0">
                <a:solidFill>
                  <a:prstClr val="black">
                    <a:lumMod val="75000"/>
                    <a:lumOff val="25000"/>
                  </a:prstClr>
                </a:solidFill>
                <a:latin typeface="Arial" panose="020B0604020202020204" pitchFamily="34" charset="0"/>
                <a:cs typeface="Arial" panose="020B0604020202020204" pitchFamily="34" charset="0"/>
              </a:rPr>
              <a:t> in Mpumalanga Province</a:t>
            </a:r>
            <a:endParaRPr kumimoji="0" lang="en-US" sz="20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xmlns="" val="25182500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object 2"/>
          <p:cNvSpPr txBox="1">
            <a:spLocks noGrp="1"/>
          </p:cNvSpPr>
          <p:nvPr>
            <p:ph type="title"/>
          </p:nvPr>
        </p:nvSpPr>
        <p:spPr>
          <a:xfrm>
            <a:off x="419450" y="769938"/>
            <a:ext cx="7239699" cy="439265"/>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z="2800" spc="-3" dirty="0"/>
              <a:t>CHALLENGES</a:t>
            </a:r>
            <a:endParaRPr sz="2800" dirty="0"/>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8</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4" name="Rectangle 3">
            <a:extLst>
              <a:ext uri="{FF2B5EF4-FFF2-40B4-BE49-F238E27FC236}">
                <a16:creationId xmlns:a16="http://schemas.microsoft.com/office/drawing/2014/main" xmlns="" id="{0EB8BDFF-C30F-43E0-AC6E-3F03405D69D3}"/>
              </a:ext>
            </a:extLst>
          </p:cNvPr>
          <p:cNvSpPr/>
          <p:nvPr/>
        </p:nvSpPr>
        <p:spPr>
          <a:xfrm>
            <a:off x="312606" y="1402149"/>
            <a:ext cx="8086987" cy="3375283"/>
          </a:xfrm>
          <a:prstGeom prst="rect">
            <a:avLst/>
          </a:prstGeom>
        </p:spPr>
        <p:txBody>
          <a:bodyPr wrap="square">
            <a:spAutoFit/>
          </a:bodyPr>
          <a:lstStyle/>
          <a:p>
            <a:pPr marL="285750" marR="0" lvl="0" indent="-285750" algn="just" defTabSz="810386" rtl="0" eaLnBrk="1" fontAlgn="auto" latinLnBrk="0" hangingPunct="1">
              <a:lnSpc>
                <a:spcPct val="100000"/>
              </a:lnSpc>
              <a:spcBef>
                <a:spcPts val="100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The declaration of lockdown due to </a:t>
            </a:r>
            <a:r>
              <a:rPr kumimoji="0" lang="en-US"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vid</a:t>
            </a: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19 in March 2020, had an impact </a:t>
            </a:r>
            <a:r>
              <a:rPr lang="en-US" sz="1800" dirty="0">
                <a:solidFill>
                  <a:prstClr val="black">
                    <a:lumMod val="75000"/>
                    <a:lumOff val="25000"/>
                  </a:prstClr>
                </a:solidFill>
                <a:latin typeface="Arial" panose="020B0604020202020204" pitchFamily="34" charset="0"/>
                <a:cs typeface="Arial" panose="020B0604020202020204" pitchFamily="34" charset="0"/>
              </a:rPr>
              <a:t>in achievements of quarterly targets.  However, this called for the department together with entities to review implementation plans in order to reflect forward planning.  As such the 2020/21 targets will still be achieved.</a:t>
            </a:r>
            <a:endPar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285750" marR="0" lvl="0" indent="-285750" algn="just" defTabSz="810386" rtl="0" eaLnBrk="1" fontAlgn="auto" latinLnBrk="0" hangingPunct="1">
              <a:lnSpc>
                <a:spcPct val="100000"/>
              </a:lnSpc>
              <a:spcBef>
                <a:spcPts val="1000"/>
              </a:spcBef>
              <a:spcAft>
                <a:spcPts val="0"/>
              </a:spcAft>
              <a:buClrTx/>
              <a:buSzTx/>
              <a:buFont typeface="Wingdings" panose="05000000000000000000" pitchFamily="2" charset="2"/>
              <a:buChar char="q"/>
              <a:tabLst/>
              <a:defRPr/>
            </a:pPr>
            <a:endPar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a:p>
            <a:pPr marL="285750" marR="0" lvl="0" indent="-285750" algn="just" defTabSz="810386" rtl="0" eaLnBrk="1" fontAlgn="auto" latinLnBrk="0" hangingPunct="1">
              <a:lnSpc>
                <a:spcPct val="100000"/>
              </a:lnSpc>
              <a:spcBef>
                <a:spcPts val="100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Illegal mining continue to pose a threat in sealing of </a:t>
            </a:r>
            <a:r>
              <a:rPr lang="en-US" sz="1800" dirty="0">
                <a:solidFill>
                  <a:prstClr val="black">
                    <a:lumMod val="75000"/>
                    <a:lumOff val="25000"/>
                  </a:prstClr>
                </a:solidFill>
                <a:latin typeface="Arial" panose="020B0604020202020204" pitchFamily="34" charset="0"/>
                <a:cs typeface="Arial" panose="020B0604020202020204" pitchFamily="34" charset="0"/>
              </a:rPr>
              <a:t>dangerous shafts/</a:t>
            </a:r>
            <a:r>
              <a:rPr lang="en-US" sz="1800" dirty="0" err="1">
                <a:solidFill>
                  <a:prstClr val="black">
                    <a:lumMod val="75000"/>
                    <a:lumOff val="25000"/>
                  </a:prstClr>
                </a:solidFill>
                <a:latin typeface="Arial" panose="020B0604020202020204" pitchFamily="34" charset="0"/>
                <a:cs typeface="Arial" panose="020B0604020202020204" pitchFamily="34" charset="0"/>
              </a:rPr>
              <a:t>holings</a:t>
            </a:r>
            <a:r>
              <a:rPr lang="en-US" sz="1800" dirty="0">
                <a:solidFill>
                  <a:prstClr val="black">
                    <a:lumMod val="75000"/>
                    <a:lumOff val="25000"/>
                  </a:prstClr>
                </a:solidFill>
                <a:latin typeface="Arial" panose="020B0604020202020204" pitchFamily="34" charset="0"/>
                <a:cs typeface="Arial" panose="020B0604020202020204" pitchFamily="34" charset="0"/>
              </a:rPr>
              <a:t>.</a:t>
            </a:r>
          </a:p>
          <a:p>
            <a:pPr marL="285750" marR="0" lvl="0" indent="-285750" algn="just" defTabSz="810386" rtl="0" eaLnBrk="1" fontAlgn="auto" latinLnBrk="0" hangingPunct="1">
              <a:lnSpc>
                <a:spcPct val="100000"/>
              </a:lnSpc>
              <a:spcBef>
                <a:spcPts val="1000"/>
              </a:spcBef>
              <a:spcAft>
                <a:spcPts val="0"/>
              </a:spcAft>
              <a:buClrTx/>
              <a:buSzTx/>
              <a:buFont typeface="Wingdings" panose="05000000000000000000" pitchFamily="2" charset="2"/>
              <a:buChar char="q"/>
              <a:tabLst/>
              <a:defRPr/>
            </a:pPr>
            <a:endParaRPr lang="en-US" sz="1800" dirty="0">
              <a:solidFill>
                <a:prstClr val="black">
                  <a:lumMod val="75000"/>
                  <a:lumOff val="25000"/>
                </a:prstClr>
              </a:solidFill>
              <a:latin typeface="Arial" panose="020B0604020202020204" pitchFamily="34" charset="0"/>
              <a:cs typeface="Arial" panose="020B0604020202020204" pitchFamily="34" charset="0"/>
            </a:endParaRPr>
          </a:p>
          <a:p>
            <a:pPr marL="285750" marR="0" lvl="0" indent="-285750" algn="just" defTabSz="810386" rtl="0" eaLnBrk="1" fontAlgn="auto" latinLnBrk="0" hangingPunct="1">
              <a:lnSpc>
                <a:spcPct val="100000"/>
              </a:lnSpc>
              <a:spcBef>
                <a:spcPts val="1000"/>
              </a:spcBef>
              <a:spcAft>
                <a:spcPts val="0"/>
              </a:spcAft>
              <a:buClrTx/>
              <a:buSzTx/>
              <a:buFont typeface="Wingdings" panose="05000000000000000000" pitchFamily="2" charset="2"/>
              <a:buChar char="q"/>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Van </a:t>
            </a:r>
            <a:r>
              <a:rPr kumimoji="0" lang="en-US"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Ryn</a:t>
            </a: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area in Gauteng Province wherein several shafts/</a:t>
            </a:r>
            <a:r>
              <a:rPr kumimoji="0" lang="en-US"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holings</a:t>
            </a: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 must be sealed, is populated with heavily armed illegal miners.</a:t>
            </a:r>
          </a:p>
        </p:txBody>
      </p:sp>
    </p:spTree>
    <p:extLst>
      <p:ext uri="{BB962C8B-B14F-4D97-AF65-F5344CB8AC3E}">
        <p14:creationId xmlns:p14="http://schemas.microsoft.com/office/powerpoint/2010/main" xmlns="" val="6100579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object 2"/>
          <p:cNvSpPr txBox="1">
            <a:spLocks noGrp="1"/>
          </p:cNvSpPr>
          <p:nvPr>
            <p:ph type="title"/>
          </p:nvPr>
        </p:nvSpPr>
        <p:spPr>
          <a:xfrm>
            <a:off x="0" y="688943"/>
            <a:ext cx="7991394" cy="439265"/>
          </a:xfrm>
        </p:spPr>
        <p:txBody>
          <a:bodyPr vert="horz" wrap="square" lIns="0" tIns="8297" rIns="0" bIns="0" numCol="1" rtlCol="0" anchor="t" anchorCtr="0" compatLnSpc="1">
            <a:prstTxWarp prst="textNoShape">
              <a:avLst/>
            </a:prstTxWarp>
            <a:spAutoFit/>
          </a:bodyPr>
          <a:lstStyle/>
          <a:p>
            <a:pPr marL="8297" eaLnBrk="1" fontAlgn="auto" hangingPunct="1">
              <a:spcBef>
                <a:spcPts val="65"/>
              </a:spcBef>
              <a:spcAft>
                <a:spcPts val="0"/>
              </a:spcAft>
              <a:defRPr/>
            </a:pPr>
            <a:r>
              <a:rPr lang="en-ZA" sz="2800" spc="-3" dirty="0"/>
              <a:t>STRATEGIES IN DEALING WITH ILLEGAL MINING</a:t>
            </a:r>
            <a:endParaRPr sz="2800" dirty="0">
              <a:solidFill>
                <a:srgbClr val="FF0000"/>
              </a:solidFill>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9</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4" name="Rectangle 3">
            <a:extLst>
              <a:ext uri="{FF2B5EF4-FFF2-40B4-BE49-F238E27FC236}">
                <a16:creationId xmlns:a16="http://schemas.microsoft.com/office/drawing/2014/main" xmlns="" id="{0EB8BDFF-C30F-43E0-AC6E-3F03405D69D3}"/>
              </a:ext>
            </a:extLst>
          </p:cNvPr>
          <p:cNvSpPr/>
          <p:nvPr/>
        </p:nvSpPr>
        <p:spPr>
          <a:xfrm>
            <a:off x="312606" y="1488211"/>
            <a:ext cx="8086987" cy="4078039"/>
          </a:xfrm>
          <a:prstGeom prst="rect">
            <a:avLst/>
          </a:prstGeom>
        </p:spPr>
        <p:txBody>
          <a:bodyPr wrap="square">
            <a:spAutoFit/>
          </a:bodyPr>
          <a:lstStyle/>
          <a:p>
            <a:pPr marL="285750" indent="-285750" algn="just">
              <a:spcBef>
                <a:spcPts val="1000"/>
              </a:spcBef>
              <a:spcAft>
                <a:spcPts val="0"/>
              </a:spcAft>
              <a:buFont typeface="Wingdings" panose="05000000000000000000" pitchFamily="2" charset="2"/>
              <a:buChar char="q"/>
            </a:pPr>
            <a:r>
              <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In the short-term, Tactical Security company has been appointed to ensure safety of officials during the sealing of these shafts/</a:t>
            </a:r>
            <a:r>
              <a:rPr kumimoji="0" lang="en-US"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cs typeface="Arial" panose="020B0604020202020204" pitchFamily="34" charset="0"/>
              </a:rPr>
              <a:t>holings</a:t>
            </a:r>
            <a:endParaRPr kumimoji="0" lang="en-US"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endParaRPr>
          </a:p>
          <a:p>
            <a:pPr marL="285750" indent="-285750" algn="just">
              <a:spcBef>
                <a:spcPts val="1000"/>
              </a:spcBef>
              <a:spcAft>
                <a:spcPts val="0"/>
              </a:spcAft>
              <a:buFont typeface="Wingdings" panose="05000000000000000000" pitchFamily="2" charset="2"/>
              <a:buChar char="q"/>
            </a:pPr>
            <a:r>
              <a:rPr lang="en-US" sz="1800" dirty="0">
                <a:solidFill>
                  <a:srgbClr val="404040"/>
                </a:solidFill>
                <a:latin typeface="Arial" panose="020B0604020202020204" pitchFamily="34" charset="0"/>
                <a:ea typeface="Times New Roman" panose="02020603050405020304" pitchFamily="18" charset="0"/>
                <a:cs typeface="Arial" panose="020B0604020202020204" pitchFamily="34" charset="0"/>
              </a:rPr>
              <a:t>For the medium and long term, the department has engaged the CSIR to devise a permanent solution to address this challenge.  Furthermore the department is currently in discussion with the </a:t>
            </a:r>
            <a:r>
              <a:rPr lang="en-US" sz="1800" dirty="0">
                <a:latin typeface="Arial" panose="020B0604020202020204" pitchFamily="34" charset="0"/>
                <a:ea typeface="Times New Roman" panose="02020603050405020304" pitchFamily="18" charset="0"/>
                <a:cs typeface="Arial" panose="020B0604020202020204" pitchFamily="34" charset="0"/>
              </a:rPr>
              <a:t>National Coordinating Strategic Management Team (NCSMT) </a:t>
            </a:r>
            <a:r>
              <a:rPr lang="en-US" sz="1800" dirty="0">
                <a:solidFill>
                  <a:srgbClr val="404040"/>
                </a:solidFill>
                <a:latin typeface="Arial" panose="020B0604020202020204" pitchFamily="34" charset="0"/>
                <a:ea typeface="Times New Roman" panose="02020603050405020304" pitchFamily="18" charset="0"/>
                <a:cs typeface="Arial" panose="020B0604020202020204" pitchFamily="34" charset="0"/>
              </a:rPr>
              <a:t>to establish on how the SAPS and </a:t>
            </a:r>
            <a:r>
              <a:rPr lang="en-GB" sz="1800" dirty="0">
                <a:solidFill>
                  <a:prstClr val="black">
                    <a:lumMod val="75000"/>
                    <a:lumOff val="25000"/>
                  </a:prstClr>
                </a:solidFill>
                <a:latin typeface="Arial" panose="020B0604020202020204" pitchFamily="34" charset="0"/>
                <a:cs typeface="Arial" panose="020B0604020202020204" pitchFamily="34" charset="0"/>
              </a:rPr>
              <a:t>National Prosecuting Authority (NPA) </a:t>
            </a:r>
            <a:r>
              <a:rPr lang="en-US" sz="1800" dirty="0">
                <a:solidFill>
                  <a:srgbClr val="404040"/>
                </a:solidFill>
                <a:latin typeface="Arial" panose="020B0604020202020204" pitchFamily="34" charset="0"/>
                <a:ea typeface="Times New Roman" panose="02020603050405020304" pitchFamily="18" charset="0"/>
                <a:cs typeface="Arial" panose="020B0604020202020204" pitchFamily="34" charset="0"/>
              </a:rPr>
              <a:t>can be involved in implementing the CSIR,s  Command and Control Collaborator (CMORE).</a:t>
            </a:r>
            <a:endParaRPr lang="en-ZA" sz="1800" dirty="0">
              <a:latin typeface="Arial" panose="020B0604020202020204" pitchFamily="34" charset="0"/>
              <a:ea typeface="Times New Roman" panose="02020603050405020304" pitchFamily="18" charset="0"/>
              <a:cs typeface="Arial" panose="020B0604020202020204" pitchFamily="34" charset="0"/>
            </a:endParaRPr>
          </a:p>
          <a:p>
            <a:pPr marL="285750" indent="-285750" algn="just">
              <a:spcBef>
                <a:spcPts val="1000"/>
              </a:spcBef>
              <a:spcAft>
                <a:spcPts val="0"/>
              </a:spcAft>
              <a:buFont typeface="Wingdings" panose="05000000000000000000" pitchFamily="2" charset="2"/>
              <a:buChar char="q"/>
            </a:pPr>
            <a:r>
              <a:rPr kumimoji="0" lang="en-GB"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cs typeface="Arial" panose="020B0604020202020204" pitchFamily="34" charset="0"/>
              </a:rPr>
              <a:t>Cmore</a:t>
            </a:r>
            <a:r>
              <a:rPr kumimoji="0" lang="en-GB"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 is a system that was used to combat rhino poaching and CSIR has advised that it will be ideal for addressing illegal mining. The system use satellite providing real time monitoring and observation. </a:t>
            </a:r>
            <a:endParaRPr lang="en-GB" sz="1800" dirty="0">
              <a:solidFill>
                <a:prstClr val="black">
                  <a:lumMod val="75000"/>
                  <a:lumOff val="25000"/>
                </a:prstClr>
              </a:solidFill>
              <a:latin typeface="Arial" panose="020B0604020202020204" pitchFamily="34" charset="0"/>
              <a:cs typeface="Arial" panose="020B0604020202020204" pitchFamily="34" charset="0"/>
            </a:endParaRPr>
          </a:p>
          <a:p>
            <a:pPr marL="285750" indent="-285750" algn="just">
              <a:spcBef>
                <a:spcPts val="1000"/>
              </a:spcBef>
              <a:spcAft>
                <a:spcPts val="0"/>
              </a:spcAft>
              <a:buFont typeface="Wingdings" panose="05000000000000000000" pitchFamily="2" charset="2"/>
              <a:buChar char="q"/>
            </a:pPr>
            <a:r>
              <a:rPr kumimoji="0" lang="en-GB"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It is envisaged that </a:t>
            </a:r>
            <a:r>
              <a:rPr kumimoji="0" lang="en-GB" sz="1800" b="0" i="0" u="none" strike="noStrike" kern="1200" cap="none" spc="0" normalizeH="0" baseline="0" noProof="0" dirty="0" err="1">
                <a:ln>
                  <a:noFill/>
                </a:ln>
                <a:solidFill>
                  <a:prstClr val="black">
                    <a:lumMod val="75000"/>
                    <a:lumOff val="25000"/>
                  </a:prstClr>
                </a:solidFill>
                <a:effectLst/>
                <a:uLnTx/>
                <a:uFillTx/>
                <a:latin typeface="Arial" panose="020B0604020202020204" pitchFamily="34" charset="0"/>
                <a:cs typeface="Arial" panose="020B0604020202020204" pitchFamily="34" charset="0"/>
              </a:rPr>
              <a:t>Cmore</a:t>
            </a:r>
            <a:r>
              <a:rPr kumimoji="0" lang="en-GB" sz="18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cs typeface="Arial" panose="020B0604020202020204" pitchFamily="34" charset="0"/>
              </a:rPr>
              <a:t> implementation will be utilised in collaboration with the SAPS and National Prosecuting Authority (NPA)</a:t>
            </a:r>
          </a:p>
        </p:txBody>
      </p:sp>
    </p:spTree>
    <p:extLst>
      <p:ext uri="{BB962C8B-B14F-4D97-AF65-F5344CB8AC3E}">
        <p14:creationId xmlns:p14="http://schemas.microsoft.com/office/powerpoint/2010/main" xmlns="" val="6001393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l361vxLxseDS9n8LdJ_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DAISYDECK Theme">
  <a:themeElements>
    <a:clrScheme name="DaisyDeck Light - 16-HavelockBlue-Grey">
      <a:dk1>
        <a:srgbClr val="2E2E2E"/>
      </a:dk1>
      <a:lt1>
        <a:srgbClr val="FFFFFF"/>
      </a:lt1>
      <a:dk2>
        <a:srgbClr val="737373"/>
      </a:dk2>
      <a:lt2>
        <a:srgbClr val="D8D8D8"/>
      </a:lt2>
      <a:accent1>
        <a:srgbClr val="4F8AD9"/>
      </a:accent1>
      <a:accent2>
        <a:srgbClr val="536A89"/>
      </a:accent2>
      <a:accent3>
        <a:srgbClr val="5B5B5B"/>
      </a:accent3>
      <a:accent4>
        <a:srgbClr val="7B7B7B"/>
      </a:accent4>
      <a:accent5>
        <a:srgbClr val="9B9B9B"/>
      </a:accent5>
      <a:accent6>
        <a:srgbClr val="CBCBCB"/>
      </a:accent6>
      <a:hlink>
        <a:srgbClr val="4F8AD9"/>
      </a:hlink>
      <a:folHlink>
        <a:srgbClr val="FFC000"/>
      </a:folHlink>
    </a:clrScheme>
    <a:fontScheme name="DaisyDeck - SourceSansPro Font">
      <a:majorFont>
        <a:latin typeface="Source Sans Pro"/>
        <a:ea typeface=""/>
        <a:cs typeface=""/>
      </a:majorFont>
      <a:minorFont>
        <a:latin typeface="Source Sans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19050">
          <a:noFill/>
          <a:prstDash val="sysDot"/>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sq">
          <a:miter lim="800000"/>
          <a:headEnd type="oval"/>
          <a:tailEnd type="oval"/>
        </a:ln>
        <a:effectLst/>
      </a:spPr>
      <a:bodyPr/>
      <a:lstStyle/>
      <a:style>
        <a:lnRef idx="3">
          <a:schemeClr val="accent1"/>
        </a:lnRef>
        <a:fillRef idx="0">
          <a:schemeClr val="accent1"/>
        </a:fillRef>
        <a:effectRef idx="2">
          <a:schemeClr val="accent1"/>
        </a:effectRef>
        <a:fontRef idx="minor">
          <a:schemeClr val="tx1"/>
        </a:fontRef>
      </a:style>
    </a:lnDef>
    <a:txDef>
      <a:spPr/>
      <a:bodyPr wrap="square" lIns="90000" rIns="90000" rtlCol="0">
        <a:spAutoFit/>
      </a:bodyPr>
      <a:lstStyle>
        <a:defPPr defTabSz="914400">
          <a:defRPr sz="900" spc="20" dirty="0" smtClean="0"/>
        </a:defPPr>
      </a:lstStyle>
    </a:txDef>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3539</TotalTime>
  <Words>919</Words>
  <Application>Microsoft Office PowerPoint</Application>
  <PresentationFormat>Custom</PresentationFormat>
  <Paragraphs>212</Paragraphs>
  <Slides>18</Slides>
  <Notes>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4" baseType="lpstr">
      <vt:lpstr>Custom Design</vt:lpstr>
      <vt:lpstr>DAISYDECK Theme</vt:lpstr>
      <vt:lpstr>3_Office Theme</vt:lpstr>
      <vt:lpstr>Office Theme</vt:lpstr>
      <vt:lpstr>14_Office Theme</vt:lpstr>
      <vt:lpstr>think-cell Slide</vt:lpstr>
      <vt:lpstr>  </vt:lpstr>
      <vt:lpstr>Slide 2</vt:lpstr>
      <vt:lpstr>PRESENTATION LAYOUT</vt:lpstr>
      <vt:lpstr>Introductory Remarks </vt:lpstr>
      <vt:lpstr>SOUTH AFRICAN MINE LEGISLATION HISTORY </vt:lpstr>
      <vt:lpstr>SOUTH AFRICAN MINE LEGISLATION HISTORY </vt:lpstr>
      <vt:lpstr>SEALING OF OPEN SHAFTS/HOLINGS</vt:lpstr>
      <vt:lpstr>CHALLENGES</vt:lpstr>
      <vt:lpstr>STRATEGIES IN DEALING WITH ILLEGAL MINING</vt:lpstr>
      <vt:lpstr>SHAFTS/HOLINGS SEALED </vt:lpstr>
      <vt:lpstr>SHAFTS/HOLINGS SEALED CONTINUED</vt:lpstr>
      <vt:lpstr>SHAFTS/HOLINGS SEALED CONTINUED</vt:lpstr>
      <vt:lpstr>SHAFTS/HOLINGS SEALED CONTINUED</vt:lpstr>
      <vt:lpstr>2019/20 COMPLETED ASBESTOS REHABILITATED SITES MINE SITES</vt:lpstr>
      <vt:lpstr>REHABILITATION OF ASBESTOS SITES AND SEALING OF SHAFTS                                                 IN THE  2020/21 FY</vt:lpstr>
      <vt:lpstr>WORK OPPORTUNITIES</vt:lpstr>
      <vt:lpstr>CONCLUSION</vt:lpstr>
      <vt:lpstr>Slide 18</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ntsadi Andries</dc:creator>
  <cp:lastModifiedBy>USER</cp:lastModifiedBy>
  <cp:revision>831</cp:revision>
  <cp:lastPrinted>2020-05-04T07:34:38Z</cp:lastPrinted>
  <dcterms:created xsi:type="dcterms:W3CDTF">2017-05-11T10:10:21Z</dcterms:created>
  <dcterms:modified xsi:type="dcterms:W3CDTF">2020-11-19T14:10:31Z</dcterms:modified>
</cp:coreProperties>
</file>